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pptx" ContentType="application/vnd.openxmlformats-officedocument.presentationml.presentation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964" r:id="rId1"/>
  </p:sldMasterIdLst>
  <p:notesMasterIdLst>
    <p:notesMasterId r:id="rId29"/>
  </p:notesMasterIdLst>
  <p:sldIdLst>
    <p:sldId id="258" r:id="rId2"/>
    <p:sldId id="259" r:id="rId3"/>
    <p:sldId id="260" r:id="rId4"/>
    <p:sldId id="263" r:id="rId5"/>
    <p:sldId id="266" r:id="rId6"/>
    <p:sldId id="267" r:id="rId7"/>
    <p:sldId id="262" r:id="rId8"/>
    <p:sldId id="271" r:id="rId9"/>
    <p:sldId id="272" r:id="rId10"/>
    <p:sldId id="273" r:id="rId11"/>
    <p:sldId id="274" r:id="rId12"/>
    <p:sldId id="275" r:id="rId13"/>
    <p:sldId id="277" r:id="rId14"/>
    <p:sldId id="285" r:id="rId15"/>
    <p:sldId id="287" r:id="rId16"/>
    <p:sldId id="276" r:id="rId17"/>
    <p:sldId id="280" r:id="rId18"/>
    <p:sldId id="281" r:id="rId19"/>
    <p:sldId id="282" r:id="rId20"/>
    <p:sldId id="284" r:id="rId21"/>
    <p:sldId id="283" r:id="rId22"/>
    <p:sldId id="278" r:id="rId23"/>
    <p:sldId id="268" r:id="rId24"/>
    <p:sldId id="269" r:id="rId25"/>
    <p:sldId id="265" r:id="rId26"/>
    <p:sldId id="288" r:id="rId27"/>
    <p:sldId id="270" r:id="rId2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76" d="100"/>
          <a:sy n="76" d="100"/>
        </p:scale>
        <p:origin x="126" y="8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104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4473135-9B62-417F-A677-BC66C014B28A}" type="doc">
      <dgm:prSet loTypeId="urn:microsoft.com/office/officeart/2008/layout/CircularPictureCallout" loCatId="picture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C857D50-54F1-4A2B-BAFD-00908BC9F8E9}">
      <dgm:prSet/>
      <dgm:spPr/>
      <dgm:t>
        <a:bodyPr/>
        <a:lstStyle/>
        <a:p>
          <a:endParaRPr lang="ru-RU" b="1" dirty="0">
            <a:solidFill>
              <a:schemeClr val="tx1"/>
            </a:solidFill>
          </a:endParaRPr>
        </a:p>
      </dgm:t>
    </dgm:pt>
    <dgm:pt modelId="{55036505-A95C-46CC-AC19-7B0C128D1FAD}" type="parTrans" cxnId="{410C5867-A08E-43CB-9A73-CB645E1AFC75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48805F90-B904-4E6E-B205-46D73F8111E8}" type="sibTrans" cxnId="{410C5867-A08E-43CB-9A73-CB645E1AFC75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2002E282-D7F6-42C3-B63E-FFB886A4BE81}">
      <dgm:prSet phldrT="[Текст]"/>
      <dgm:spPr/>
      <dgm:t>
        <a:bodyPr/>
        <a:lstStyle/>
        <a:p>
          <a:endParaRPr lang="ru-RU" b="1" dirty="0">
            <a:solidFill>
              <a:schemeClr val="tx1"/>
            </a:solidFill>
          </a:endParaRPr>
        </a:p>
      </dgm:t>
    </dgm:pt>
    <dgm:pt modelId="{2BDEAD57-78DE-45D3-90FF-E976196B03D9}" type="parTrans" cxnId="{17E81097-92F7-4877-B367-E6DEEC04610A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CB0FF35A-E6C1-4A5D-ABC5-1319E2AED7F7}" type="sibTrans" cxnId="{17E81097-92F7-4877-B367-E6DEEC04610A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7E8607E5-92FD-4FD4-AE4B-F35D392D02A3}">
      <dgm:prSet phldrT="[Текст]"/>
      <dgm:spPr/>
      <dgm:t>
        <a:bodyPr/>
        <a:lstStyle/>
        <a:p>
          <a:endParaRPr lang="ru-RU" b="1" dirty="0">
            <a:solidFill>
              <a:schemeClr val="tx1"/>
            </a:solidFill>
          </a:endParaRPr>
        </a:p>
      </dgm:t>
    </dgm:pt>
    <dgm:pt modelId="{FE561A17-DDB9-43FB-AECB-3644EDAD5ABA}" type="parTrans" cxnId="{059CB81E-4910-4AAA-AFD0-69FDCA1F322C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D1EF018C-6E82-42E1-9D87-4C64FCB2B281}" type="sibTrans" cxnId="{059CB81E-4910-4AAA-AFD0-69FDCA1F322C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1F065A65-1667-46C9-9C73-DEE5FFFA12F4}">
      <dgm:prSet/>
      <dgm:spPr/>
      <dgm:t>
        <a:bodyPr/>
        <a:lstStyle/>
        <a:p>
          <a:endParaRPr lang="ru-RU" b="1" dirty="0" smtClean="0">
            <a:solidFill>
              <a:schemeClr val="tx1"/>
            </a:solidFill>
          </a:endParaRPr>
        </a:p>
      </dgm:t>
    </dgm:pt>
    <dgm:pt modelId="{DF8A2B6E-D4BF-46AB-B05C-D70F88C385B9}" type="parTrans" cxnId="{CEE78807-EB42-4D2E-A94D-63C617A87CB4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21F7B6E9-B46C-4EB8-A214-4790B6C35DEA}" type="sibTrans" cxnId="{CEE78807-EB42-4D2E-A94D-63C617A87CB4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6F43792E-1C18-4F88-8C95-E541B8F43753}">
      <dgm:prSet/>
      <dgm:spPr/>
      <dgm:t>
        <a:bodyPr/>
        <a:lstStyle/>
        <a:p>
          <a:endParaRPr lang="ru-RU" dirty="0">
            <a:solidFill>
              <a:schemeClr val="tx1"/>
            </a:solidFill>
          </a:endParaRPr>
        </a:p>
      </dgm:t>
    </dgm:pt>
    <dgm:pt modelId="{7F0B6A0F-F559-4A4C-9EB5-F21103333381}" type="sibTrans" cxnId="{450E3AFD-019E-47EA-AC25-2517DB03884B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620F723B-4DCE-4A77-BD7D-8E169117B89C}" type="parTrans" cxnId="{450E3AFD-019E-47EA-AC25-2517DB03884B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FF5E2BCA-FD62-49B6-AC35-1A2FF55474A7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редоставление ссуд</a:t>
          </a:r>
          <a:endParaRPr lang="ru-RU" dirty="0">
            <a:solidFill>
              <a:schemeClr val="tx1"/>
            </a:solidFill>
          </a:endParaRPr>
        </a:p>
      </dgm:t>
    </dgm:pt>
    <dgm:pt modelId="{9813B22E-51FF-4370-8321-EB1EC73ACDD6}" type="sibTrans" cxnId="{330DDB10-6915-46C5-939C-46DBDFA90E9A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37051EE4-C99B-4BC8-9D1B-B2C339417618}" type="parTrans" cxnId="{330DDB10-6915-46C5-939C-46DBDFA90E9A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8A754961-7D03-42A7-A7A1-608D9989A9DD}" type="pres">
      <dgm:prSet presAssocID="{04473135-9B62-417F-A677-BC66C014B28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4FC10EB2-1C66-44C0-A5F5-FAF49D62FE36}" type="pres">
      <dgm:prSet presAssocID="{04473135-9B62-417F-A677-BC66C014B28A}" presName="Name1" presStyleCnt="0"/>
      <dgm:spPr/>
    </dgm:pt>
    <dgm:pt modelId="{C43D7D12-900F-46E5-AEB9-29A20E6AA743}" type="pres">
      <dgm:prSet presAssocID="{9813B22E-51FF-4370-8321-EB1EC73ACDD6}" presName="picture_1" presStyleCnt="0"/>
      <dgm:spPr/>
    </dgm:pt>
    <dgm:pt modelId="{C9E7BFC0-6CED-4B36-A632-789BD3DA5BCF}" type="pres">
      <dgm:prSet presAssocID="{9813B22E-51FF-4370-8321-EB1EC73ACDD6}" presName="pictureRepeatNode" presStyleLbl="alignImgPlace1" presStyleIdx="0" presStyleCnt="6"/>
      <dgm:spPr/>
      <dgm:t>
        <a:bodyPr/>
        <a:lstStyle/>
        <a:p>
          <a:endParaRPr lang="ru-RU"/>
        </a:p>
      </dgm:t>
    </dgm:pt>
    <dgm:pt modelId="{9A360D99-53F8-4E3A-A134-BF33169B7424}" type="pres">
      <dgm:prSet presAssocID="{FF5E2BCA-FD62-49B6-AC35-1A2FF55474A7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26FAF3-CF5E-492C-BE65-DF13705E68EA}" type="pres">
      <dgm:prSet presAssocID="{48805F90-B904-4E6E-B205-46D73F8111E8}" presName="picture_2" presStyleCnt="0"/>
      <dgm:spPr/>
    </dgm:pt>
    <dgm:pt modelId="{15930735-5A8B-4BE2-97A3-7CAD9ED90E68}" type="pres">
      <dgm:prSet presAssocID="{48805F90-B904-4E6E-B205-46D73F8111E8}" presName="pictureRepeatNode" presStyleLbl="alignImgPlace1" presStyleIdx="1" presStyleCnt="6" custScaleX="215341" custScaleY="197692" custLinFactNeighborX="7680" custLinFactNeighborY="-32728"/>
      <dgm:spPr/>
      <dgm:t>
        <a:bodyPr/>
        <a:lstStyle/>
        <a:p>
          <a:endParaRPr lang="ru-RU"/>
        </a:p>
      </dgm:t>
    </dgm:pt>
    <dgm:pt modelId="{DF9D0537-1534-451A-8BED-3C06C11EADD0}" type="pres">
      <dgm:prSet presAssocID="{1C857D50-54F1-4A2B-BAFD-00908BC9F8E9}" presName="line_2" presStyleLbl="parChTrans1D1" presStyleIdx="0" presStyleCnt="5"/>
      <dgm:spPr/>
    </dgm:pt>
    <dgm:pt modelId="{B674540B-C8F3-4E93-BF84-6226A6198180}" type="pres">
      <dgm:prSet presAssocID="{1C857D50-54F1-4A2B-BAFD-00908BC9F8E9}" presName="textparent_2" presStyleLbl="node1" presStyleIdx="0" presStyleCnt="0"/>
      <dgm:spPr/>
    </dgm:pt>
    <dgm:pt modelId="{08624DFF-4AD4-499A-929C-1B1D749D6FC1}" type="pres">
      <dgm:prSet presAssocID="{1C857D50-54F1-4A2B-BAFD-00908BC9F8E9}" presName="text_2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C2476B-7E63-442A-B48F-8125516C6EEA}" type="pres">
      <dgm:prSet presAssocID="{CB0FF35A-E6C1-4A5D-ABC5-1319E2AED7F7}" presName="picture_3" presStyleCnt="0"/>
      <dgm:spPr/>
    </dgm:pt>
    <dgm:pt modelId="{258B3847-661C-4694-A118-3553569A2FAF}" type="pres">
      <dgm:prSet presAssocID="{CB0FF35A-E6C1-4A5D-ABC5-1319E2AED7F7}" presName="pictureRepeatNode" presStyleLbl="alignImgPlace1" presStyleIdx="2" presStyleCnt="6" custScaleX="187550" custScaleY="162015"/>
      <dgm:spPr/>
      <dgm:t>
        <a:bodyPr/>
        <a:lstStyle/>
        <a:p>
          <a:endParaRPr lang="ru-RU"/>
        </a:p>
      </dgm:t>
    </dgm:pt>
    <dgm:pt modelId="{6C8A8D16-3FCC-4282-9AD8-8E2718AAD576}" type="pres">
      <dgm:prSet presAssocID="{2002E282-D7F6-42C3-B63E-FFB886A4BE81}" presName="line_3" presStyleLbl="parChTrans1D1" presStyleIdx="1" presStyleCnt="5"/>
      <dgm:spPr/>
    </dgm:pt>
    <dgm:pt modelId="{DD294BC3-BE78-4EEF-BA7C-75542DE157CF}" type="pres">
      <dgm:prSet presAssocID="{2002E282-D7F6-42C3-B63E-FFB886A4BE81}" presName="textparent_3" presStyleLbl="node1" presStyleIdx="0" presStyleCnt="0"/>
      <dgm:spPr/>
    </dgm:pt>
    <dgm:pt modelId="{9E8EB9AB-FD1A-4F2A-9ACE-56B26670B2BB}" type="pres">
      <dgm:prSet presAssocID="{2002E282-D7F6-42C3-B63E-FFB886A4BE81}" presName="text_3" presStyleLbl="revTx" presStyleIdx="1" presStyleCnt="5" custScaleX="957301" custScaleY="1111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C2A6C3-3278-42CD-A076-01CCED6D9595}" type="pres">
      <dgm:prSet presAssocID="{D1EF018C-6E82-42E1-9D87-4C64FCB2B281}" presName="picture_4" presStyleCnt="0"/>
      <dgm:spPr/>
    </dgm:pt>
    <dgm:pt modelId="{774EDE47-CBA5-449C-9187-53589C8AB7CF}" type="pres">
      <dgm:prSet presAssocID="{D1EF018C-6E82-42E1-9D87-4C64FCB2B281}" presName="pictureRepeatNode" presStyleLbl="alignImgPlace1" presStyleIdx="3" presStyleCnt="6" custScaleX="151432" custScaleY="143392" custLinFactNeighborY="17281"/>
      <dgm:spPr/>
      <dgm:t>
        <a:bodyPr/>
        <a:lstStyle/>
        <a:p>
          <a:endParaRPr lang="ru-RU"/>
        </a:p>
      </dgm:t>
    </dgm:pt>
    <dgm:pt modelId="{83C0A714-6032-479D-A5FD-B4846F587EA0}" type="pres">
      <dgm:prSet presAssocID="{7E8607E5-92FD-4FD4-AE4B-F35D392D02A3}" presName="line_4" presStyleLbl="parChTrans1D1" presStyleIdx="2" presStyleCnt="5"/>
      <dgm:spPr/>
    </dgm:pt>
    <dgm:pt modelId="{3868579A-1497-411E-BB3B-BC13CCAB86E3}" type="pres">
      <dgm:prSet presAssocID="{7E8607E5-92FD-4FD4-AE4B-F35D392D02A3}" presName="textparent_4" presStyleLbl="node1" presStyleIdx="0" presStyleCnt="0"/>
      <dgm:spPr/>
    </dgm:pt>
    <dgm:pt modelId="{30CE7C72-8E8A-4AB9-B3AD-7C116E6FA757}" type="pres">
      <dgm:prSet presAssocID="{7E8607E5-92FD-4FD4-AE4B-F35D392D02A3}" presName="text_4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72DE50-769A-4784-9126-DB281AEE5BD9}" type="pres">
      <dgm:prSet presAssocID="{7F0B6A0F-F559-4A4C-9EB5-F21103333381}" presName="picture_5" presStyleCnt="0"/>
      <dgm:spPr/>
    </dgm:pt>
    <dgm:pt modelId="{88A42AB2-ACC8-44E7-83E5-E5EED6FAE6BA}" type="pres">
      <dgm:prSet presAssocID="{7F0B6A0F-F559-4A4C-9EB5-F21103333381}" presName="pictureRepeatNode" presStyleLbl="alignImgPlace1" presStyleIdx="4" presStyleCnt="6" custLinFactNeighborX="-25712" custLinFactNeighborY="2087"/>
      <dgm:spPr/>
      <dgm:t>
        <a:bodyPr/>
        <a:lstStyle/>
        <a:p>
          <a:endParaRPr lang="ru-RU"/>
        </a:p>
      </dgm:t>
    </dgm:pt>
    <dgm:pt modelId="{D0A91131-8807-470F-9134-D8AB2C68D867}" type="pres">
      <dgm:prSet presAssocID="{6F43792E-1C18-4F88-8C95-E541B8F43753}" presName="line_5" presStyleLbl="parChTrans1D1" presStyleIdx="3" presStyleCnt="5"/>
      <dgm:spPr/>
    </dgm:pt>
    <dgm:pt modelId="{186BA2CC-D96D-4FF2-8D4F-DCB925517FE2}" type="pres">
      <dgm:prSet presAssocID="{6F43792E-1C18-4F88-8C95-E541B8F43753}" presName="textparent_5" presStyleLbl="node1" presStyleIdx="0" presStyleCnt="0"/>
      <dgm:spPr/>
    </dgm:pt>
    <dgm:pt modelId="{8021ECFD-1D7F-490B-A7CD-AEF8BF1E5F7A}" type="pres">
      <dgm:prSet presAssocID="{6F43792E-1C18-4F88-8C95-E541B8F43753}" presName="text_5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7CE397-7EE3-47A1-A342-D620996DBAD0}" type="pres">
      <dgm:prSet presAssocID="{21F7B6E9-B46C-4EB8-A214-4790B6C35DEA}" presName="picture_6" presStyleCnt="0"/>
      <dgm:spPr/>
    </dgm:pt>
    <dgm:pt modelId="{4C8936E0-8461-4BBF-8301-EAE646733CFF}" type="pres">
      <dgm:prSet presAssocID="{21F7B6E9-B46C-4EB8-A214-4790B6C35DEA}" presName="pictureRepeatNode" presStyleLbl="alignImgPlace1" presStyleIdx="5" presStyleCnt="6" custScaleX="240813" custScaleY="202853" custLinFactNeighborX="71718" custLinFactNeighborY="-62219"/>
      <dgm:spPr/>
      <dgm:t>
        <a:bodyPr/>
        <a:lstStyle/>
        <a:p>
          <a:endParaRPr lang="ru-RU"/>
        </a:p>
      </dgm:t>
    </dgm:pt>
    <dgm:pt modelId="{560FCD52-EB2A-49B8-B43D-9955C17B087E}" type="pres">
      <dgm:prSet presAssocID="{1F065A65-1667-46C9-9C73-DEE5FFFA12F4}" presName="line_6" presStyleLbl="parChTrans1D1" presStyleIdx="4" presStyleCnt="5"/>
      <dgm:spPr/>
    </dgm:pt>
    <dgm:pt modelId="{1AD2D0D7-7498-4684-B158-F4D626DD4CC7}" type="pres">
      <dgm:prSet presAssocID="{1F065A65-1667-46C9-9C73-DEE5FFFA12F4}" presName="textparent_6" presStyleLbl="node1" presStyleIdx="0" presStyleCnt="0"/>
      <dgm:spPr/>
    </dgm:pt>
    <dgm:pt modelId="{1309B2DE-9177-4319-A541-5ECD4DD50D23}" type="pres">
      <dgm:prSet presAssocID="{1F065A65-1667-46C9-9C73-DEE5FFFA12F4}" presName="text_6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30DDB10-6915-46C5-939C-46DBDFA90E9A}" srcId="{04473135-9B62-417F-A677-BC66C014B28A}" destId="{FF5E2BCA-FD62-49B6-AC35-1A2FF55474A7}" srcOrd="0" destOrd="0" parTransId="{37051EE4-C99B-4BC8-9D1B-B2C339417618}" sibTransId="{9813B22E-51FF-4370-8321-EB1EC73ACDD6}"/>
    <dgm:cxn modelId="{E7A7947C-2E81-43D8-8323-673CC0BED917}" type="presOf" srcId="{FF5E2BCA-FD62-49B6-AC35-1A2FF55474A7}" destId="{9A360D99-53F8-4E3A-A134-BF33169B7424}" srcOrd="0" destOrd="0" presId="urn:microsoft.com/office/officeart/2008/layout/CircularPictureCallout"/>
    <dgm:cxn modelId="{0BE64768-CEBE-42D7-A615-FD95D0B6B007}" type="presOf" srcId="{04473135-9B62-417F-A677-BC66C014B28A}" destId="{8A754961-7D03-42A7-A7A1-608D9989A9DD}" srcOrd="0" destOrd="0" presId="urn:microsoft.com/office/officeart/2008/layout/CircularPictureCallout"/>
    <dgm:cxn modelId="{9454BF03-89C0-49F3-997D-787D88B4D1F5}" type="presOf" srcId="{9813B22E-51FF-4370-8321-EB1EC73ACDD6}" destId="{C9E7BFC0-6CED-4B36-A632-789BD3DA5BCF}" srcOrd="0" destOrd="0" presId="urn:microsoft.com/office/officeart/2008/layout/CircularPictureCallout"/>
    <dgm:cxn modelId="{EB4F7665-AE27-4BB4-BCEA-ACE87C522F06}" type="presOf" srcId="{1F065A65-1667-46C9-9C73-DEE5FFFA12F4}" destId="{1309B2DE-9177-4319-A541-5ECD4DD50D23}" srcOrd="0" destOrd="0" presId="urn:microsoft.com/office/officeart/2008/layout/CircularPictureCallout"/>
    <dgm:cxn modelId="{564B11B1-D167-44ED-B264-E74075DD4906}" type="presOf" srcId="{7E8607E5-92FD-4FD4-AE4B-F35D392D02A3}" destId="{30CE7C72-8E8A-4AB9-B3AD-7C116E6FA757}" srcOrd="0" destOrd="0" presId="urn:microsoft.com/office/officeart/2008/layout/CircularPictureCallout"/>
    <dgm:cxn modelId="{410C5867-A08E-43CB-9A73-CB645E1AFC75}" srcId="{04473135-9B62-417F-A677-BC66C014B28A}" destId="{1C857D50-54F1-4A2B-BAFD-00908BC9F8E9}" srcOrd="1" destOrd="0" parTransId="{55036505-A95C-46CC-AC19-7B0C128D1FAD}" sibTransId="{48805F90-B904-4E6E-B205-46D73F8111E8}"/>
    <dgm:cxn modelId="{26240A7D-E594-4CCE-913B-7AF15F8C43A2}" type="presOf" srcId="{7F0B6A0F-F559-4A4C-9EB5-F21103333381}" destId="{88A42AB2-ACC8-44E7-83E5-E5EED6FAE6BA}" srcOrd="0" destOrd="0" presId="urn:microsoft.com/office/officeart/2008/layout/CircularPictureCallout"/>
    <dgm:cxn modelId="{17E81097-92F7-4877-B367-E6DEEC04610A}" srcId="{04473135-9B62-417F-A677-BC66C014B28A}" destId="{2002E282-D7F6-42C3-B63E-FFB886A4BE81}" srcOrd="2" destOrd="0" parTransId="{2BDEAD57-78DE-45D3-90FF-E976196B03D9}" sibTransId="{CB0FF35A-E6C1-4A5D-ABC5-1319E2AED7F7}"/>
    <dgm:cxn modelId="{342727C1-90AF-478B-9088-363F1A947CE1}" type="presOf" srcId="{48805F90-B904-4E6E-B205-46D73F8111E8}" destId="{15930735-5A8B-4BE2-97A3-7CAD9ED90E68}" srcOrd="0" destOrd="0" presId="urn:microsoft.com/office/officeart/2008/layout/CircularPictureCallout"/>
    <dgm:cxn modelId="{1A28516A-76B0-4CE2-B3CE-F4293A459BD0}" type="presOf" srcId="{21F7B6E9-B46C-4EB8-A214-4790B6C35DEA}" destId="{4C8936E0-8461-4BBF-8301-EAE646733CFF}" srcOrd="0" destOrd="0" presId="urn:microsoft.com/office/officeart/2008/layout/CircularPictureCallout"/>
    <dgm:cxn modelId="{802F6CB4-26EC-4F03-A154-C682096A0016}" type="presOf" srcId="{6F43792E-1C18-4F88-8C95-E541B8F43753}" destId="{8021ECFD-1D7F-490B-A7CD-AEF8BF1E5F7A}" srcOrd="0" destOrd="0" presId="urn:microsoft.com/office/officeart/2008/layout/CircularPictureCallout"/>
    <dgm:cxn modelId="{CEE78807-EB42-4D2E-A94D-63C617A87CB4}" srcId="{04473135-9B62-417F-A677-BC66C014B28A}" destId="{1F065A65-1667-46C9-9C73-DEE5FFFA12F4}" srcOrd="5" destOrd="0" parTransId="{DF8A2B6E-D4BF-46AB-B05C-D70F88C385B9}" sibTransId="{21F7B6E9-B46C-4EB8-A214-4790B6C35DEA}"/>
    <dgm:cxn modelId="{059CB81E-4910-4AAA-AFD0-69FDCA1F322C}" srcId="{04473135-9B62-417F-A677-BC66C014B28A}" destId="{7E8607E5-92FD-4FD4-AE4B-F35D392D02A3}" srcOrd="3" destOrd="0" parTransId="{FE561A17-DDB9-43FB-AECB-3644EDAD5ABA}" sibTransId="{D1EF018C-6E82-42E1-9D87-4C64FCB2B281}"/>
    <dgm:cxn modelId="{BA4B7600-12C8-4E8D-864C-AE813668417C}" type="presOf" srcId="{1C857D50-54F1-4A2B-BAFD-00908BC9F8E9}" destId="{08624DFF-4AD4-499A-929C-1B1D749D6FC1}" srcOrd="0" destOrd="0" presId="urn:microsoft.com/office/officeart/2008/layout/CircularPictureCallout"/>
    <dgm:cxn modelId="{450E3AFD-019E-47EA-AC25-2517DB03884B}" srcId="{04473135-9B62-417F-A677-BC66C014B28A}" destId="{6F43792E-1C18-4F88-8C95-E541B8F43753}" srcOrd="4" destOrd="0" parTransId="{620F723B-4DCE-4A77-BD7D-8E169117B89C}" sibTransId="{7F0B6A0F-F559-4A4C-9EB5-F21103333381}"/>
    <dgm:cxn modelId="{BFDBF597-3CCB-49DA-BF0D-6DCE533B7B66}" type="presOf" srcId="{CB0FF35A-E6C1-4A5D-ABC5-1319E2AED7F7}" destId="{258B3847-661C-4694-A118-3553569A2FAF}" srcOrd="0" destOrd="0" presId="urn:microsoft.com/office/officeart/2008/layout/CircularPictureCallout"/>
    <dgm:cxn modelId="{6445EC1A-0582-4B34-A827-FFE020CC6319}" type="presOf" srcId="{D1EF018C-6E82-42E1-9D87-4C64FCB2B281}" destId="{774EDE47-CBA5-449C-9187-53589C8AB7CF}" srcOrd="0" destOrd="0" presId="urn:microsoft.com/office/officeart/2008/layout/CircularPictureCallout"/>
    <dgm:cxn modelId="{243E4050-4041-4734-9950-D829B7435A9E}" type="presOf" srcId="{2002E282-D7F6-42C3-B63E-FFB886A4BE81}" destId="{9E8EB9AB-FD1A-4F2A-9ACE-56B26670B2BB}" srcOrd="0" destOrd="0" presId="urn:microsoft.com/office/officeart/2008/layout/CircularPictureCallout"/>
    <dgm:cxn modelId="{81B3DBDE-3273-454D-9E48-AFAC9628D8FE}" type="presParOf" srcId="{8A754961-7D03-42A7-A7A1-608D9989A9DD}" destId="{4FC10EB2-1C66-44C0-A5F5-FAF49D62FE36}" srcOrd="0" destOrd="0" presId="urn:microsoft.com/office/officeart/2008/layout/CircularPictureCallout"/>
    <dgm:cxn modelId="{359F57E8-6B00-41D9-9271-0D7A42E4E744}" type="presParOf" srcId="{4FC10EB2-1C66-44C0-A5F5-FAF49D62FE36}" destId="{C43D7D12-900F-46E5-AEB9-29A20E6AA743}" srcOrd="0" destOrd="0" presId="urn:microsoft.com/office/officeart/2008/layout/CircularPictureCallout"/>
    <dgm:cxn modelId="{785F8C88-8AF3-4964-BA73-74E6C6452130}" type="presParOf" srcId="{C43D7D12-900F-46E5-AEB9-29A20E6AA743}" destId="{C9E7BFC0-6CED-4B36-A632-789BD3DA5BCF}" srcOrd="0" destOrd="0" presId="urn:microsoft.com/office/officeart/2008/layout/CircularPictureCallout"/>
    <dgm:cxn modelId="{1390CE8C-02CA-4C66-8624-62A38FEE2574}" type="presParOf" srcId="{4FC10EB2-1C66-44C0-A5F5-FAF49D62FE36}" destId="{9A360D99-53F8-4E3A-A134-BF33169B7424}" srcOrd="1" destOrd="0" presId="urn:microsoft.com/office/officeart/2008/layout/CircularPictureCallout"/>
    <dgm:cxn modelId="{1E24BFF6-28BC-4B36-A160-026214248CD6}" type="presParOf" srcId="{4FC10EB2-1C66-44C0-A5F5-FAF49D62FE36}" destId="{CA26FAF3-CF5E-492C-BE65-DF13705E68EA}" srcOrd="2" destOrd="0" presId="urn:microsoft.com/office/officeart/2008/layout/CircularPictureCallout"/>
    <dgm:cxn modelId="{6DF58D4F-7B19-41F8-BDD5-CEC03343D9A0}" type="presParOf" srcId="{CA26FAF3-CF5E-492C-BE65-DF13705E68EA}" destId="{15930735-5A8B-4BE2-97A3-7CAD9ED90E68}" srcOrd="0" destOrd="0" presId="urn:microsoft.com/office/officeart/2008/layout/CircularPictureCallout"/>
    <dgm:cxn modelId="{AF6C5723-C040-4F52-945D-81969CB87880}" type="presParOf" srcId="{4FC10EB2-1C66-44C0-A5F5-FAF49D62FE36}" destId="{DF9D0537-1534-451A-8BED-3C06C11EADD0}" srcOrd="3" destOrd="0" presId="urn:microsoft.com/office/officeart/2008/layout/CircularPictureCallout"/>
    <dgm:cxn modelId="{88ABC4B4-A8F7-49C1-8CBA-5724C591DA22}" type="presParOf" srcId="{4FC10EB2-1C66-44C0-A5F5-FAF49D62FE36}" destId="{B674540B-C8F3-4E93-BF84-6226A6198180}" srcOrd="4" destOrd="0" presId="urn:microsoft.com/office/officeart/2008/layout/CircularPictureCallout"/>
    <dgm:cxn modelId="{19E326A8-4A7A-4CCE-9528-D2EB0014C1F5}" type="presParOf" srcId="{B674540B-C8F3-4E93-BF84-6226A6198180}" destId="{08624DFF-4AD4-499A-929C-1B1D749D6FC1}" srcOrd="0" destOrd="0" presId="urn:microsoft.com/office/officeart/2008/layout/CircularPictureCallout"/>
    <dgm:cxn modelId="{EA6CEB7D-EDE5-4F60-A91D-91420E82C270}" type="presParOf" srcId="{4FC10EB2-1C66-44C0-A5F5-FAF49D62FE36}" destId="{BFC2476B-7E63-442A-B48F-8125516C6EEA}" srcOrd="5" destOrd="0" presId="urn:microsoft.com/office/officeart/2008/layout/CircularPictureCallout"/>
    <dgm:cxn modelId="{6CE89EA1-A77C-40A6-9093-42056F662E00}" type="presParOf" srcId="{BFC2476B-7E63-442A-B48F-8125516C6EEA}" destId="{258B3847-661C-4694-A118-3553569A2FAF}" srcOrd="0" destOrd="0" presId="urn:microsoft.com/office/officeart/2008/layout/CircularPictureCallout"/>
    <dgm:cxn modelId="{FA8A473D-40D7-4650-8D9B-D43A4F00F7B2}" type="presParOf" srcId="{4FC10EB2-1C66-44C0-A5F5-FAF49D62FE36}" destId="{6C8A8D16-3FCC-4282-9AD8-8E2718AAD576}" srcOrd="6" destOrd="0" presId="urn:microsoft.com/office/officeart/2008/layout/CircularPictureCallout"/>
    <dgm:cxn modelId="{BEC3FA91-21AF-4022-9467-BABAF164CA55}" type="presParOf" srcId="{4FC10EB2-1C66-44C0-A5F5-FAF49D62FE36}" destId="{DD294BC3-BE78-4EEF-BA7C-75542DE157CF}" srcOrd="7" destOrd="0" presId="urn:microsoft.com/office/officeart/2008/layout/CircularPictureCallout"/>
    <dgm:cxn modelId="{8483397F-337E-4E88-87DC-C6E08378317D}" type="presParOf" srcId="{DD294BC3-BE78-4EEF-BA7C-75542DE157CF}" destId="{9E8EB9AB-FD1A-4F2A-9ACE-56B26670B2BB}" srcOrd="0" destOrd="0" presId="urn:microsoft.com/office/officeart/2008/layout/CircularPictureCallout"/>
    <dgm:cxn modelId="{E2EFB536-DFB4-4172-9D4A-A6855550326F}" type="presParOf" srcId="{4FC10EB2-1C66-44C0-A5F5-FAF49D62FE36}" destId="{9AC2A6C3-3278-42CD-A076-01CCED6D9595}" srcOrd="8" destOrd="0" presId="urn:microsoft.com/office/officeart/2008/layout/CircularPictureCallout"/>
    <dgm:cxn modelId="{36B47546-6F6C-4737-B1AD-A89B6B011C91}" type="presParOf" srcId="{9AC2A6C3-3278-42CD-A076-01CCED6D9595}" destId="{774EDE47-CBA5-449C-9187-53589C8AB7CF}" srcOrd="0" destOrd="0" presId="urn:microsoft.com/office/officeart/2008/layout/CircularPictureCallout"/>
    <dgm:cxn modelId="{FB6C7CFA-B4D2-48B5-BB24-FE85078CF354}" type="presParOf" srcId="{4FC10EB2-1C66-44C0-A5F5-FAF49D62FE36}" destId="{83C0A714-6032-479D-A5FD-B4846F587EA0}" srcOrd="9" destOrd="0" presId="urn:microsoft.com/office/officeart/2008/layout/CircularPictureCallout"/>
    <dgm:cxn modelId="{9671A906-6834-489D-94B8-04C9EDE409DF}" type="presParOf" srcId="{4FC10EB2-1C66-44C0-A5F5-FAF49D62FE36}" destId="{3868579A-1497-411E-BB3B-BC13CCAB86E3}" srcOrd="10" destOrd="0" presId="urn:microsoft.com/office/officeart/2008/layout/CircularPictureCallout"/>
    <dgm:cxn modelId="{93E98D03-FE63-443C-B57A-7854EE8BD9C5}" type="presParOf" srcId="{3868579A-1497-411E-BB3B-BC13CCAB86E3}" destId="{30CE7C72-8E8A-4AB9-B3AD-7C116E6FA757}" srcOrd="0" destOrd="0" presId="urn:microsoft.com/office/officeart/2008/layout/CircularPictureCallout"/>
    <dgm:cxn modelId="{B4068CCC-42B9-4095-A971-0483C9A0593E}" type="presParOf" srcId="{4FC10EB2-1C66-44C0-A5F5-FAF49D62FE36}" destId="{3E72DE50-769A-4784-9126-DB281AEE5BD9}" srcOrd="11" destOrd="0" presId="urn:microsoft.com/office/officeart/2008/layout/CircularPictureCallout"/>
    <dgm:cxn modelId="{30A256DA-9EA5-4438-A25B-4F5B1977D5D0}" type="presParOf" srcId="{3E72DE50-769A-4784-9126-DB281AEE5BD9}" destId="{88A42AB2-ACC8-44E7-83E5-E5EED6FAE6BA}" srcOrd="0" destOrd="0" presId="urn:microsoft.com/office/officeart/2008/layout/CircularPictureCallout"/>
    <dgm:cxn modelId="{5859D4D0-471F-491D-8168-D35ABAE08734}" type="presParOf" srcId="{4FC10EB2-1C66-44C0-A5F5-FAF49D62FE36}" destId="{D0A91131-8807-470F-9134-D8AB2C68D867}" srcOrd="12" destOrd="0" presId="urn:microsoft.com/office/officeart/2008/layout/CircularPictureCallout"/>
    <dgm:cxn modelId="{3A9793D2-7CC7-4EE0-9157-DCCE8D4D7F75}" type="presParOf" srcId="{4FC10EB2-1C66-44C0-A5F5-FAF49D62FE36}" destId="{186BA2CC-D96D-4FF2-8D4F-DCB925517FE2}" srcOrd="13" destOrd="0" presId="urn:microsoft.com/office/officeart/2008/layout/CircularPictureCallout"/>
    <dgm:cxn modelId="{8B663B7D-36D7-4781-A6D2-6700B924B87E}" type="presParOf" srcId="{186BA2CC-D96D-4FF2-8D4F-DCB925517FE2}" destId="{8021ECFD-1D7F-490B-A7CD-AEF8BF1E5F7A}" srcOrd="0" destOrd="0" presId="urn:microsoft.com/office/officeart/2008/layout/CircularPictureCallout"/>
    <dgm:cxn modelId="{50EECF53-C10B-4319-A4B7-1421BF85A807}" type="presParOf" srcId="{4FC10EB2-1C66-44C0-A5F5-FAF49D62FE36}" destId="{347CE397-7EE3-47A1-A342-D620996DBAD0}" srcOrd="14" destOrd="0" presId="urn:microsoft.com/office/officeart/2008/layout/CircularPictureCallout"/>
    <dgm:cxn modelId="{068BA133-DFA4-479B-A328-9ED307125EF3}" type="presParOf" srcId="{347CE397-7EE3-47A1-A342-D620996DBAD0}" destId="{4C8936E0-8461-4BBF-8301-EAE646733CFF}" srcOrd="0" destOrd="0" presId="urn:microsoft.com/office/officeart/2008/layout/CircularPictureCallout"/>
    <dgm:cxn modelId="{3A03C5A2-25D4-42FC-8B2A-2CD4F1A477F3}" type="presParOf" srcId="{4FC10EB2-1C66-44C0-A5F5-FAF49D62FE36}" destId="{560FCD52-EB2A-49B8-B43D-9955C17B087E}" srcOrd="15" destOrd="0" presId="urn:microsoft.com/office/officeart/2008/layout/CircularPictureCallout"/>
    <dgm:cxn modelId="{E5ACC251-54EE-43A9-9CD1-931616DF907D}" type="presParOf" srcId="{4FC10EB2-1C66-44C0-A5F5-FAF49D62FE36}" destId="{1AD2D0D7-7498-4684-B158-F4D626DD4CC7}" srcOrd="16" destOrd="0" presId="urn:microsoft.com/office/officeart/2008/layout/CircularPictureCallout"/>
    <dgm:cxn modelId="{93342C96-E58E-4AA9-B81F-8B62E0BC76A6}" type="presParOf" srcId="{1AD2D0D7-7498-4684-B158-F4D626DD4CC7}" destId="{1309B2DE-9177-4319-A541-5ECD4DD50D23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DF0324-81DE-4D0B-9DA0-5EAA697AC03D}" type="doc">
      <dgm:prSet loTypeId="urn:microsoft.com/office/officeart/2008/layout/AlternatingPictureBlocks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F248F7D7-DB1A-4BED-BD2B-064283F5CD86}">
      <dgm:prSet phldrT="[Текст]" custT="1"/>
      <dgm:spPr>
        <a:xfrm>
          <a:off x="3783484" y="35513"/>
          <a:ext cx="3617886" cy="1693363"/>
        </a:xfrm>
        <a:solidFill>
          <a:schemeClr val="tx2">
            <a:lumMod val="20000"/>
            <a:lumOff val="80000"/>
          </a:schemeClr>
        </a:solidFill>
        <a:ln w="19050" cap="rnd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20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Карта члена Профсоюза </a:t>
          </a:r>
          <a:br>
            <a:rPr lang="ru-RU" sz="20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</a:br>
          <a:r>
            <a:rPr lang="ru-RU" sz="20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а базе карты «Халва»</a:t>
          </a:r>
          <a:endParaRPr lang="ru-RU" sz="20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30D8C58D-A49C-47F4-84E9-9428A1E60C08}" type="parTrans" cxnId="{BA6BA32C-1E95-405F-90B0-CF2B47A62554}">
      <dgm:prSet/>
      <dgm:spPr/>
      <dgm:t>
        <a:bodyPr/>
        <a:lstStyle/>
        <a:p>
          <a:endParaRPr lang="ru-RU"/>
        </a:p>
      </dgm:t>
    </dgm:pt>
    <dgm:pt modelId="{0D4A555B-DA23-4A88-9441-02AA8252208D}" type="sibTrans" cxnId="{BA6BA32C-1E95-405F-90B0-CF2B47A62554}">
      <dgm:prSet/>
      <dgm:spPr/>
      <dgm:t>
        <a:bodyPr/>
        <a:lstStyle/>
        <a:p>
          <a:endParaRPr lang="ru-RU"/>
        </a:p>
      </dgm:t>
    </dgm:pt>
    <dgm:pt modelId="{1DCA66D9-303D-46DB-A970-67AB8101F9ED}">
      <dgm:prSet phldrT="[Текст]" custT="1"/>
      <dgm:spPr>
        <a:xfrm>
          <a:off x="0" y="1858799"/>
          <a:ext cx="6447571" cy="2497963"/>
        </a:xfrm>
        <a:solidFill>
          <a:schemeClr val="tx2">
            <a:lumMod val="20000"/>
            <a:lumOff val="80000"/>
          </a:schemeClr>
        </a:solidFill>
        <a:ln w="19050" cap="rnd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endParaRPr lang="ru-RU" sz="1600" b="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1600" b="1" dirty="0" smtClean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73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членов Профсоюза воспользовались льготами при покупке санаторно-курортного лечения на сайте «</a:t>
          </a:r>
          <a:r>
            <a:rPr lang="ru-RU" sz="1600" b="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Профкурорт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» экономическая  выгода </a:t>
          </a: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633 175   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</a:t>
          </a: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124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руб. с </a:t>
          </a:r>
          <a:r>
            <a:rPr lang="ru-RU" sz="1600" b="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путевки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)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2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члена Профсоюза  получили Сертификат </a:t>
          </a: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 40%  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кидкой </a:t>
          </a:r>
          <a:b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а лечение в  санатории «Качалинский»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6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человек получили Сертификат </a:t>
          </a:r>
          <a:r>
            <a:rPr lang="ru-RU" sz="1600" b="1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</a:t>
          </a: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50% 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кидкой для неработающих 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етеранов профсоюзного движения  в санаторий «Качалинский», 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4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членов Профсоюза приобрели путёвки с </a:t>
          </a: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0% 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 санаторий 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«Качалинский»; 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12</a:t>
          </a:r>
          <a:r>
            <a:rPr lang="ru-RU" sz="16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члена по квоте получили компенсацию за санаторно-курортное лечение -</a:t>
          </a:r>
          <a:r>
            <a:rPr lang="ru-RU" sz="16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94 214  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2000" b="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ctr">
            <a:lnSpc>
              <a:spcPct val="90000"/>
            </a:lnSpc>
            <a:spcAft>
              <a:spcPct val="35000"/>
            </a:spcAft>
          </a:pPr>
          <a:endParaRPr lang="ru-RU" sz="20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4DFDF355-0A89-4668-991F-A914E28867A4}" type="parTrans" cxnId="{3766C0D9-4F59-41EF-A331-BD4657A52A36}">
      <dgm:prSet/>
      <dgm:spPr/>
      <dgm:t>
        <a:bodyPr/>
        <a:lstStyle/>
        <a:p>
          <a:endParaRPr lang="ru-RU"/>
        </a:p>
      </dgm:t>
    </dgm:pt>
    <dgm:pt modelId="{12332BC8-8EEC-48A9-A27C-132A448A9D4D}" type="sibTrans" cxnId="{3766C0D9-4F59-41EF-A331-BD4657A52A36}">
      <dgm:prSet/>
      <dgm:spPr/>
      <dgm:t>
        <a:bodyPr/>
        <a:lstStyle/>
        <a:p>
          <a:endParaRPr lang="ru-RU"/>
        </a:p>
      </dgm:t>
    </dgm:pt>
    <dgm:pt modelId="{6BDE7327-BA87-4CF8-8AF1-77DD95956A71}">
      <dgm:prSet phldrT="[Текст]" custT="1"/>
      <dgm:spPr>
        <a:xfrm>
          <a:off x="922841" y="4645477"/>
          <a:ext cx="5737106" cy="1373390"/>
        </a:xfrm>
        <a:solidFill>
          <a:schemeClr val="tx2">
            <a:lumMod val="20000"/>
            <a:lumOff val="80000"/>
          </a:schemeClr>
        </a:solidFill>
        <a:ln w="19050" cap="rnd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20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Специальные тарифные планы </a:t>
          </a:r>
          <a:br>
            <a:rPr lang="ru-RU" sz="20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</a:br>
          <a:r>
            <a:rPr lang="ru-RU" sz="20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для членов Профсоюза</a:t>
          </a:r>
        </a:p>
        <a:p>
          <a:endParaRPr lang="ru-RU" sz="24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695DA9F7-A4A9-4044-9146-3817FF690E7B}" type="parTrans" cxnId="{DE55B779-90E4-4078-A949-0078AE12FEBC}">
      <dgm:prSet/>
      <dgm:spPr/>
      <dgm:t>
        <a:bodyPr/>
        <a:lstStyle/>
        <a:p>
          <a:endParaRPr lang="ru-RU"/>
        </a:p>
      </dgm:t>
    </dgm:pt>
    <dgm:pt modelId="{3DA93A60-6DBC-4261-BF7B-1F473CE43FC6}" type="sibTrans" cxnId="{DE55B779-90E4-4078-A949-0078AE12FEBC}">
      <dgm:prSet/>
      <dgm:spPr/>
      <dgm:t>
        <a:bodyPr/>
        <a:lstStyle/>
        <a:p>
          <a:endParaRPr lang="ru-RU"/>
        </a:p>
      </dgm:t>
    </dgm:pt>
    <dgm:pt modelId="{ADB5AB16-0C35-425F-B6F4-E2AF0170B8B5}" type="pres">
      <dgm:prSet presAssocID="{D9DF0324-81DE-4D0B-9DA0-5EAA697AC03D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058C363-818E-4530-9100-8541936E47ED}" type="pres">
      <dgm:prSet presAssocID="{F248F7D7-DB1A-4BED-BD2B-064283F5CD86}" presName="comp" presStyleCnt="0"/>
      <dgm:spPr/>
    </dgm:pt>
    <dgm:pt modelId="{41EF1FB6-DFFE-4B6C-B85D-346AA6E4B3DB}" type="pres">
      <dgm:prSet presAssocID="{F248F7D7-DB1A-4BED-BD2B-064283F5CD86}" presName="rect2" presStyleLbl="node1" presStyleIdx="0" presStyleCnt="3" custScaleX="119144" custScaleY="91790" custLinFactNeighborX="41864" custLinFactNeighborY="25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D59B2C-4E24-41ED-ABA0-619520E6865B}" type="pres">
      <dgm:prSet presAssocID="{F248F7D7-DB1A-4BED-BD2B-064283F5CD86}" presName="rect1" presStyleLbl="lnNode1" presStyleIdx="0" presStyleCnt="3" custScaleX="126669" custLinFactNeighborX="80075" custLinFactNeighborY="2672"/>
      <dgm:spPr>
        <a:xfrm>
          <a:off x="3246939" y="223022"/>
          <a:ext cx="1359656" cy="1373390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9050" cap="rnd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6AC697E3-0D5D-4183-B235-C40EA0618E19}" type="pres">
      <dgm:prSet presAssocID="{0D4A555B-DA23-4A88-9441-02AA8252208D}" presName="sibTrans" presStyleCnt="0"/>
      <dgm:spPr/>
    </dgm:pt>
    <dgm:pt modelId="{7BF3B699-793F-422E-8119-089328751B03}" type="pres">
      <dgm:prSet presAssocID="{1DCA66D9-303D-46DB-A970-67AB8101F9ED}" presName="comp" presStyleCnt="0"/>
      <dgm:spPr/>
    </dgm:pt>
    <dgm:pt modelId="{061A3BB1-951B-4FB2-86A0-EAB05E3F3459}" type="pres">
      <dgm:prSet presAssocID="{1DCA66D9-303D-46DB-A970-67AB8101F9ED}" presName="rect2" presStyleLbl="node1" presStyleIdx="1" presStyleCnt="3" custScaleX="230026" custScaleY="201928" custLinFactNeighborX="-24246" custLinFactNeighborY="-8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B8162F-D8A4-4C59-93D3-EA22411F8EB0}" type="pres">
      <dgm:prSet presAssocID="{1DCA66D9-303D-46DB-A970-67AB8101F9ED}" presName="rect1" presStyleLbl="lnNode1" presStyleIdx="1" presStyleCnt="3" custScaleX="103250" custScaleY="102591" custLinFactNeighborX="94738" custLinFactNeighborY="-5605"/>
      <dgm:spPr>
        <a:xfrm>
          <a:off x="5372967" y="2483190"/>
          <a:ext cx="1359656" cy="1373390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9050" cap="rnd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99CF4461-BB3D-4A11-8579-D2B258735CDD}" type="pres">
      <dgm:prSet presAssocID="{12332BC8-8EEC-48A9-A27C-132A448A9D4D}" presName="sibTrans" presStyleCnt="0"/>
      <dgm:spPr/>
    </dgm:pt>
    <dgm:pt modelId="{EDE00DEF-8387-43E1-BA51-1F1ED0E6BCC6}" type="pres">
      <dgm:prSet presAssocID="{6BDE7327-BA87-4CF8-8AF1-77DD95956A71}" presName="comp" presStyleCnt="0"/>
      <dgm:spPr/>
    </dgm:pt>
    <dgm:pt modelId="{9DA12C1E-BEC3-4443-A07A-AF8710A8A6AB}" type="pres">
      <dgm:prSet presAssocID="{6BDE7327-BA87-4CF8-8AF1-77DD95956A71}" presName="rect2" presStyleLbl="node1" presStyleIdx="2" presStyleCnt="3" custScaleX="150955" custScaleY="75437" custLinFactNeighborX="836" custLinFactNeighborY="-28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55820D-C712-4F70-A6BF-34F685766D72}" type="pres">
      <dgm:prSet presAssocID="{6BDE7327-BA87-4CF8-8AF1-77DD95956A71}" presName="rect1" presStyleLbl="lnNode1" presStyleIdx="2" presStyleCnt="3" custLinFactNeighborX="-39151" custLinFactNeighborY="-2836"/>
      <dgm:spPr>
        <a:xfrm>
          <a:off x="829374" y="4620536"/>
          <a:ext cx="1359656" cy="1373390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19050" cap="rnd" cmpd="sng" algn="ctr">
          <a:solidFill>
            <a:srgbClr val="4F81B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</dgm:ptLst>
  <dgm:cxnLst>
    <dgm:cxn modelId="{317FF5D4-FDED-448B-99BB-0A0B993B43E1}" type="presOf" srcId="{1DCA66D9-303D-46DB-A970-67AB8101F9ED}" destId="{061A3BB1-951B-4FB2-86A0-EAB05E3F3459}" srcOrd="0" destOrd="0" presId="urn:microsoft.com/office/officeart/2008/layout/AlternatingPictureBlocks"/>
    <dgm:cxn modelId="{F61198F0-8536-4B67-8744-42721DFCCE8B}" type="presOf" srcId="{D9DF0324-81DE-4D0B-9DA0-5EAA697AC03D}" destId="{ADB5AB16-0C35-425F-B6F4-E2AF0170B8B5}" srcOrd="0" destOrd="0" presId="urn:microsoft.com/office/officeart/2008/layout/AlternatingPictureBlocks"/>
    <dgm:cxn modelId="{3766C0D9-4F59-41EF-A331-BD4657A52A36}" srcId="{D9DF0324-81DE-4D0B-9DA0-5EAA697AC03D}" destId="{1DCA66D9-303D-46DB-A970-67AB8101F9ED}" srcOrd="1" destOrd="0" parTransId="{4DFDF355-0A89-4668-991F-A914E28867A4}" sibTransId="{12332BC8-8EEC-48A9-A27C-132A448A9D4D}"/>
    <dgm:cxn modelId="{8E55BBC5-43A5-4D06-8B83-E8D46137AA1A}" type="presOf" srcId="{6BDE7327-BA87-4CF8-8AF1-77DD95956A71}" destId="{9DA12C1E-BEC3-4443-A07A-AF8710A8A6AB}" srcOrd="0" destOrd="0" presId="urn:microsoft.com/office/officeart/2008/layout/AlternatingPictureBlocks"/>
    <dgm:cxn modelId="{2452B408-C76B-4F07-8593-BC5E6A9B26DB}" type="presOf" srcId="{F248F7D7-DB1A-4BED-BD2B-064283F5CD86}" destId="{41EF1FB6-DFFE-4B6C-B85D-346AA6E4B3DB}" srcOrd="0" destOrd="0" presId="urn:microsoft.com/office/officeart/2008/layout/AlternatingPictureBlocks"/>
    <dgm:cxn modelId="{BA6BA32C-1E95-405F-90B0-CF2B47A62554}" srcId="{D9DF0324-81DE-4D0B-9DA0-5EAA697AC03D}" destId="{F248F7D7-DB1A-4BED-BD2B-064283F5CD86}" srcOrd="0" destOrd="0" parTransId="{30D8C58D-A49C-47F4-84E9-9428A1E60C08}" sibTransId="{0D4A555B-DA23-4A88-9441-02AA8252208D}"/>
    <dgm:cxn modelId="{DE55B779-90E4-4078-A949-0078AE12FEBC}" srcId="{D9DF0324-81DE-4D0B-9DA0-5EAA697AC03D}" destId="{6BDE7327-BA87-4CF8-8AF1-77DD95956A71}" srcOrd="2" destOrd="0" parTransId="{695DA9F7-A4A9-4044-9146-3817FF690E7B}" sibTransId="{3DA93A60-6DBC-4261-BF7B-1F473CE43FC6}"/>
    <dgm:cxn modelId="{8FC7DDDE-2F10-4AB7-857C-6CBB3198604B}" type="presParOf" srcId="{ADB5AB16-0C35-425F-B6F4-E2AF0170B8B5}" destId="{7058C363-818E-4530-9100-8541936E47ED}" srcOrd="0" destOrd="0" presId="urn:microsoft.com/office/officeart/2008/layout/AlternatingPictureBlocks"/>
    <dgm:cxn modelId="{3C28867B-DBD0-464A-8531-0B409497ABDC}" type="presParOf" srcId="{7058C363-818E-4530-9100-8541936E47ED}" destId="{41EF1FB6-DFFE-4B6C-B85D-346AA6E4B3DB}" srcOrd="0" destOrd="0" presId="urn:microsoft.com/office/officeart/2008/layout/AlternatingPictureBlocks"/>
    <dgm:cxn modelId="{EF81505F-9AA5-491F-A89E-25E89A56878F}" type="presParOf" srcId="{7058C363-818E-4530-9100-8541936E47ED}" destId="{B9D59B2C-4E24-41ED-ABA0-619520E6865B}" srcOrd="1" destOrd="0" presId="urn:microsoft.com/office/officeart/2008/layout/AlternatingPictureBlocks"/>
    <dgm:cxn modelId="{98C66D5E-5553-4C8C-AC06-3B0D896BF428}" type="presParOf" srcId="{ADB5AB16-0C35-425F-B6F4-E2AF0170B8B5}" destId="{6AC697E3-0D5D-4183-B235-C40EA0618E19}" srcOrd="1" destOrd="0" presId="urn:microsoft.com/office/officeart/2008/layout/AlternatingPictureBlocks"/>
    <dgm:cxn modelId="{560FCBEE-1B66-4E03-8AF6-DD4C30BF2021}" type="presParOf" srcId="{ADB5AB16-0C35-425F-B6F4-E2AF0170B8B5}" destId="{7BF3B699-793F-422E-8119-089328751B03}" srcOrd="2" destOrd="0" presId="urn:microsoft.com/office/officeart/2008/layout/AlternatingPictureBlocks"/>
    <dgm:cxn modelId="{CEA44A6B-59BE-4236-BBB5-15BBF6A7FB15}" type="presParOf" srcId="{7BF3B699-793F-422E-8119-089328751B03}" destId="{061A3BB1-951B-4FB2-86A0-EAB05E3F3459}" srcOrd="0" destOrd="0" presId="urn:microsoft.com/office/officeart/2008/layout/AlternatingPictureBlocks"/>
    <dgm:cxn modelId="{E9D48A8C-E866-468D-B5F5-6C339F57AB01}" type="presParOf" srcId="{7BF3B699-793F-422E-8119-089328751B03}" destId="{23B8162F-D8A4-4C59-93D3-EA22411F8EB0}" srcOrd="1" destOrd="0" presId="urn:microsoft.com/office/officeart/2008/layout/AlternatingPictureBlocks"/>
    <dgm:cxn modelId="{EEB31EBE-6E1E-4523-8F0F-133CF415C11C}" type="presParOf" srcId="{ADB5AB16-0C35-425F-B6F4-E2AF0170B8B5}" destId="{99CF4461-BB3D-4A11-8579-D2B258735CDD}" srcOrd="3" destOrd="0" presId="urn:microsoft.com/office/officeart/2008/layout/AlternatingPictureBlocks"/>
    <dgm:cxn modelId="{197DFD89-EBF3-4CD9-B7BB-76D2A6137525}" type="presParOf" srcId="{ADB5AB16-0C35-425F-B6F4-E2AF0170B8B5}" destId="{EDE00DEF-8387-43E1-BA51-1F1ED0E6BCC6}" srcOrd="4" destOrd="0" presId="urn:microsoft.com/office/officeart/2008/layout/AlternatingPictureBlocks"/>
    <dgm:cxn modelId="{AB162D7E-A8C3-44AF-9D3E-C063B38E2D7C}" type="presParOf" srcId="{EDE00DEF-8387-43E1-BA51-1F1ED0E6BCC6}" destId="{9DA12C1E-BEC3-4443-A07A-AF8710A8A6AB}" srcOrd="0" destOrd="0" presId="urn:microsoft.com/office/officeart/2008/layout/AlternatingPictureBlocks"/>
    <dgm:cxn modelId="{939535FB-4483-4B8A-85C6-4C4C11445749}" type="presParOf" srcId="{EDE00DEF-8387-43E1-BA51-1F1ED0E6BCC6}" destId="{7F55820D-C712-4F70-A6BF-34F685766D72}" srcOrd="1" destOrd="0" presId="urn:microsoft.com/office/officeart/2008/layout/Alternating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5EC1F5D-F794-4152-90F9-3CF928D7323B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33BE3FF-4653-486F-BC3A-4558AE19BB3E}">
      <dgm:prSet phldrT="[Текст]"/>
      <dgm:spPr/>
      <dgm:t>
        <a:bodyPr/>
        <a:lstStyle/>
        <a:p>
          <a:r>
            <a:rPr lang="ru-RU" dirty="0" smtClean="0"/>
            <a:t>Методика реализации программы «Здоровый член профсоюза – здоровый коллектив – здоровая область»</a:t>
          </a:r>
          <a:endParaRPr lang="ru-RU" dirty="0"/>
        </a:p>
      </dgm:t>
    </dgm:pt>
    <dgm:pt modelId="{651CF9E5-339F-413C-9B40-B98642913A85}" type="parTrans" cxnId="{8DB21395-8600-418A-802B-8D37B570AB76}">
      <dgm:prSet/>
      <dgm:spPr/>
      <dgm:t>
        <a:bodyPr/>
        <a:lstStyle/>
        <a:p>
          <a:endParaRPr lang="ru-RU"/>
        </a:p>
      </dgm:t>
    </dgm:pt>
    <dgm:pt modelId="{CCF509EE-23C4-48BC-9D1F-48D51408A440}" type="sibTrans" cxnId="{8DB21395-8600-418A-802B-8D37B570AB76}">
      <dgm:prSet/>
      <dgm:spPr/>
      <dgm:t>
        <a:bodyPr/>
        <a:lstStyle/>
        <a:p>
          <a:endParaRPr lang="ru-RU"/>
        </a:p>
      </dgm:t>
    </dgm:pt>
    <dgm:pt modelId="{63DA2AE2-F86A-4C06-BF8F-992B0EAF0E68}">
      <dgm:prSet phldrT="[Текст]" custT="1"/>
      <dgm:spPr/>
      <dgm:t>
        <a:bodyPr/>
        <a:lstStyle/>
        <a:p>
          <a:r>
            <a:rPr lang="ru-RU" sz="1200" dirty="0" smtClean="0"/>
            <a:t>заключение соглашений</a:t>
          </a:r>
          <a:endParaRPr lang="ru-RU" sz="1200" dirty="0"/>
        </a:p>
      </dgm:t>
    </dgm:pt>
    <dgm:pt modelId="{F6A053BA-2F06-4600-9B32-98B2E09FDBB1}" type="parTrans" cxnId="{2B836685-0844-4C29-A7B1-C874B6AF6B4F}">
      <dgm:prSet/>
      <dgm:spPr/>
      <dgm:t>
        <a:bodyPr/>
        <a:lstStyle/>
        <a:p>
          <a:endParaRPr lang="ru-RU"/>
        </a:p>
      </dgm:t>
    </dgm:pt>
    <dgm:pt modelId="{4DAC5911-B315-4514-94BB-5BA8B4BBC569}" type="sibTrans" cxnId="{2B836685-0844-4C29-A7B1-C874B6AF6B4F}">
      <dgm:prSet/>
      <dgm:spPr/>
      <dgm:t>
        <a:bodyPr/>
        <a:lstStyle/>
        <a:p>
          <a:endParaRPr lang="ru-RU"/>
        </a:p>
      </dgm:t>
    </dgm:pt>
    <dgm:pt modelId="{FC2423C0-6615-4335-884C-C3CC323AE96A}">
      <dgm:prSet phldrT="[Текст]" custT="1"/>
      <dgm:spPr/>
      <dgm:t>
        <a:bodyPr/>
        <a:lstStyle/>
        <a:p>
          <a:r>
            <a:rPr lang="ru-RU" sz="1200" dirty="0" smtClean="0"/>
            <a:t>создание сети партнеров</a:t>
          </a:r>
          <a:endParaRPr lang="ru-RU" sz="1200" dirty="0"/>
        </a:p>
      </dgm:t>
    </dgm:pt>
    <dgm:pt modelId="{FB63722F-BFE6-4F97-A242-9913EE7077A5}" type="parTrans" cxnId="{C038B378-71EF-422F-B163-C0D22569160F}">
      <dgm:prSet/>
      <dgm:spPr/>
      <dgm:t>
        <a:bodyPr/>
        <a:lstStyle/>
        <a:p>
          <a:endParaRPr lang="ru-RU"/>
        </a:p>
      </dgm:t>
    </dgm:pt>
    <dgm:pt modelId="{456E1002-8CC8-4B5A-920C-F874BBBA7512}" type="sibTrans" cxnId="{C038B378-71EF-422F-B163-C0D22569160F}">
      <dgm:prSet/>
      <dgm:spPr/>
      <dgm:t>
        <a:bodyPr/>
        <a:lstStyle/>
        <a:p>
          <a:endParaRPr lang="ru-RU"/>
        </a:p>
      </dgm:t>
    </dgm:pt>
    <dgm:pt modelId="{05B3F794-2996-482B-BB28-37BF3AE64B75}">
      <dgm:prSet phldrT="[Текст]"/>
      <dgm:spPr/>
      <dgm:t>
        <a:bodyPr/>
        <a:lstStyle/>
        <a:p>
          <a:r>
            <a:rPr lang="ru-RU" dirty="0" smtClean="0"/>
            <a:t>Введение новых  критериев оценки эффективности деятельности </a:t>
          </a:r>
          <a:endParaRPr lang="ru-RU" dirty="0"/>
        </a:p>
      </dgm:t>
    </dgm:pt>
    <dgm:pt modelId="{A85EE6AE-433A-4AED-B1B9-BA7A78945297}" type="parTrans" cxnId="{DD63B986-76ED-4818-8A68-8D79C733CDBC}">
      <dgm:prSet/>
      <dgm:spPr/>
      <dgm:t>
        <a:bodyPr/>
        <a:lstStyle/>
        <a:p>
          <a:endParaRPr lang="ru-RU"/>
        </a:p>
      </dgm:t>
    </dgm:pt>
    <dgm:pt modelId="{16446A94-1A43-4D49-BE2E-E7587EB4C504}" type="sibTrans" cxnId="{DD63B986-76ED-4818-8A68-8D79C733CDBC}">
      <dgm:prSet/>
      <dgm:spPr/>
      <dgm:t>
        <a:bodyPr/>
        <a:lstStyle/>
        <a:p>
          <a:endParaRPr lang="ru-RU"/>
        </a:p>
      </dgm:t>
    </dgm:pt>
    <dgm:pt modelId="{5DF1BD39-F920-4CC6-AB16-6385A43831C7}">
      <dgm:prSet phldrT="[Текст]"/>
      <dgm:spPr/>
      <dgm:t>
        <a:bodyPr/>
        <a:lstStyle/>
        <a:p>
          <a:r>
            <a:rPr lang="ru-RU" dirty="0" smtClean="0"/>
            <a:t>Изучение опыта работы ППО, и включение   предложений</a:t>
          </a:r>
          <a:endParaRPr lang="ru-RU" dirty="0"/>
        </a:p>
      </dgm:t>
    </dgm:pt>
    <dgm:pt modelId="{0B6CFB99-7B6F-4D7A-9034-8847D27638D3}" type="parTrans" cxnId="{FA0D72A0-8108-47BF-81AF-64F4DA27647C}">
      <dgm:prSet/>
      <dgm:spPr/>
      <dgm:t>
        <a:bodyPr/>
        <a:lstStyle/>
        <a:p>
          <a:endParaRPr lang="ru-RU"/>
        </a:p>
      </dgm:t>
    </dgm:pt>
    <dgm:pt modelId="{7B4CF50D-BD78-496B-85A6-9FE73CE91039}" type="sibTrans" cxnId="{FA0D72A0-8108-47BF-81AF-64F4DA27647C}">
      <dgm:prSet/>
      <dgm:spPr/>
      <dgm:t>
        <a:bodyPr/>
        <a:lstStyle/>
        <a:p>
          <a:endParaRPr lang="ru-RU"/>
        </a:p>
      </dgm:t>
    </dgm:pt>
    <dgm:pt modelId="{2445D6B5-6DC2-4466-86AD-62D6AA8B04E8}">
      <dgm:prSet/>
      <dgm:spPr/>
      <dgm:t>
        <a:bodyPr/>
        <a:lstStyle/>
        <a:p>
          <a:r>
            <a:rPr lang="ru-RU" dirty="0" smtClean="0"/>
            <a:t>создание программ лояльности на основе Карты члена Профсоюза</a:t>
          </a:r>
          <a:endParaRPr lang="ru-RU" dirty="0"/>
        </a:p>
      </dgm:t>
    </dgm:pt>
    <dgm:pt modelId="{C9B209ED-6034-4080-80A1-8244CBC47A5C}" type="parTrans" cxnId="{30E7BB7B-4CE4-49DC-9B96-C39DA02D99BC}">
      <dgm:prSet/>
      <dgm:spPr/>
      <dgm:t>
        <a:bodyPr/>
        <a:lstStyle/>
        <a:p>
          <a:endParaRPr lang="ru-RU"/>
        </a:p>
      </dgm:t>
    </dgm:pt>
    <dgm:pt modelId="{62890C0B-4C41-4814-B7D7-529A137CECD2}" type="sibTrans" cxnId="{30E7BB7B-4CE4-49DC-9B96-C39DA02D99BC}">
      <dgm:prSet/>
      <dgm:spPr/>
      <dgm:t>
        <a:bodyPr/>
        <a:lstStyle/>
        <a:p>
          <a:endParaRPr lang="ru-RU"/>
        </a:p>
      </dgm:t>
    </dgm:pt>
    <dgm:pt modelId="{CB294729-4AE7-4676-9E1A-C8DAD4236FB6}">
      <dgm:prSet phldrT="[Текст]" custT="1"/>
      <dgm:spPr/>
      <dgm:t>
        <a:bodyPr/>
        <a:lstStyle/>
        <a:p>
          <a:r>
            <a:rPr lang="ru-RU" sz="1200" dirty="0" smtClean="0"/>
            <a:t>Ежемесячное информирование </a:t>
          </a:r>
          <a:endParaRPr lang="ru-RU" sz="1200" dirty="0"/>
        </a:p>
      </dgm:t>
    </dgm:pt>
    <dgm:pt modelId="{1ECD427E-7A5E-40BB-90C3-4769063CBBAB}" type="parTrans" cxnId="{4E21CD70-A402-4279-87F3-C6B1E23A7693}">
      <dgm:prSet/>
      <dgm:spPr/>
      <dgm:t>
        <a:bodyPr/>
        <a:lstStyle/>
        <a:p>
          <a:endParaRPr lang="ru-RU"/>
        </a:p>
      </dgm:t>
    </dgm:pt>
    <dgm:pt modelId="{44AE21CC-029D-4AFA-8C74-D2EAE1432FE7}" type="sibTrans" cxnId="{4E21CD70-A402-4279-87F3-C6B1E23A7693}">
      <dgm:prSet/>
      <dgm:spPr/>
      <dgm:t>
        <a:bodyPr/>
        <a:lstStyle/>
        <a:p>
          <a:endParaRPr lang="ru-RU"/>
        </a:p>
      </dgm:t>
    </dgm:pt>
    <dgm:pt modelId="{D6F60576-D4DE-4067-98E1-36B2C204CEBD}" type="pres">
      <dgm:prSet presAssocID="{C5EC1F5D-F794-4152-90F9-3CF928D7323B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F7A5348-7701-4577-BC84-57AF91ECB8C0}" type="pres">
      <dgm:prSet presAssocID="{B33BE3FF-4653-486F-BC3A-4558AE19BB3E}" presName="centerShape" presStyleLbl="node0" presStyleIdx="0" presStyleCnt="1" custScaleX="135370" custScaleY="121828"/>
      <dgm:spPr/>
      <dgm:t>
        <a:bodyPr/>
        <a:lstStyle/>
        <a:p>
          <a:endParaRPr lang="ru-RU"/>
        </a:p>
      </dgm:t>
    </dgm:pt>
    <dgm:pt modelId="{FEF513FF-D958-4672-AF57-5A0F89C3A2D4}" type="pres">
      <dgm:prSet presAssocID="{63DA2AE2-F86A-4C06-BF8F-992B0EAF0E68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855FF5-76C7-4C56-8665-5B17CBB9E212}" type="pres">
      <dgm:prSet presAssocID="{63DA2AE2-F86A-4C06-BF8F-992B0EAF0E68}" presName="dummy" presStyleCnt="0"/>
      <dgm:spPr/>
    </dgm:pt>
    <dgm:pt modelId="{183C4561-F9CE-4AE9-B5A9-060196A35544}" type="pres">
      <dgm:prSet presAssocID="{4DAC5911-B315-4514-94BB-5BA8B4BBC569}" presName="sibTrans" presStyleLbl="sibTrans2D1" presStyleIdx="0" presStyleCnt="6"/>
      <dgm:spPr/>
      <dgm:t>
        <a:bodyPr/>
        <a:lstStyle/>
        <a:p>
          <a:endParaRPr lang="ru-RU"/>
        </a:p>
      </dgm:t>
    </dgm:pt>
    <dgm:pt modelId="{66F7E07D-36D1-4F43-AD3F-940E2FC4CA9C}" type="pres">
      <dgm:prSet presAssocID="{CB294729-4AE7-4676-9E1A-C8DAD4236FB6}" presName="node" presStyleLbl="node1" presStyleIdx="1" presStyleCnt="6" custScaleX="104816" custScaleY="1082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9667C5-20BF-41E7-8027-8CD436500449}" type="pres">
      <dgm:prSet presAssocID="{CB294729-4AE7-4676-9E1A-C8DAD4236FB6}" presName="dummy" presStyleCnt="0"/>
      <dgm:spPr/>
    </dgm:pt>
    <dgm:pt modelId="{9667FD5D-69DB-4844-BB20-6320003B0686}" type="pres">
      <dgm:prSet presAssocID="{44AE21CC-029D-4AFA-8C74-D2EAE1432FE7}" presName="sibTrans" presStyleLbl="sibTrans2D1" presStyleIdx="1" presStyleCnt="6"/>
      <dgm:spPr/>
      <dgm:t>
        <a:bodyPr/>
        <a:lstStyle/>
        <a:p>
          <a:endParaRPr lang="ru-RU"/>
        </a:p>
      </dgm:t>
    </dgm:pt>
    <dgm:pt modelId="{248C3553-F113-41AF-B770-5047C8CBF2BF}" type="pres">
      <dgm:prSet presAssocID="{FC2423C0-6615-4335-884C-C3CC323AE96A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AB0D53-4E27-4256-A54A-F1061C510607}" type="pres">
      <dgm:prSet presAssocID="{FC2423C0-6615-4335-884C-C3CC323AE96A}" presName="dummy" presStyleCnt="0"/>
      <dgm:spPr/>
    </dgm:pt>
    <dgm:pt modelId="{6F8DCE07-477A-4999-AAC5-A51F2EE62716}" type="pres">
      <dgm:prSet presAssocID="{456E1002-8CC8-4B5A-920C-F874BBBA7512}" presName="sibTrans" presStyleLbl="sibTrans2D1" presStyleIdx="2" presStyleCnt="6"/>
      <dgm:spPr/>
      <dgm:t>
        <a:bodyPr/>
        <a:lstStyle/>
        <a:p>
          <a:endParaRPr lang="ru-RU"/>
        </a:p>
      </dgm:t>
    </dgm:pt>
    <dgm:pt modelId="{A13C5227-3FE3-446E-A3FE-7D622BCD3B48}" type="pres">
      <dgm:prSet presAssocID="{05B3F794-2996-482B-BB28-37BF3AE64B75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81AA38-22EC-478F-88CB-1575FA7A2C0D}" type="pres">
      <dgm:prSet presAssocID="{05B3F794-2996-482B-BB28-37BF3AE64B75}" presName="dummy" presStyleCnt="0"/>
      <dgm:spPr/>
    </dgm:pt>
    <dgm:pt modelId="{C7AFA9D1-034F-4586-AC70-F1206F5337F9}" type="pres">
      <dgm:prSet presAssocID="{16446A94-1A43-4D49-BE2E-E7587EB4C504}" presName="sibTrans" presStyleLbl="sibTrans2D1" presStyleIdx="3" presStyleCnt="6"/>
      <dgm:spPr/>
      <dgm:t>
        <a:bodyPr/>
        <a:lstStyle/>
        <a:p>
          <a:endParaRPr lang="ru-RU"/>
        </a:p>
      </dgm:t>
    </dgm:pt>
    <dgm:pt modelId="{BDC1A006-745E-4652-8CBC-8529B7FBD94A}" type="pres">
      <dgm:prSet presAssocID="{5DF1BD39-F920-4CC6-AB16-6385A43831C7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FEBFCA-ED1F-493A-ABCB-D6B28B18A9B1}" type="pres">
      <dgm:prSet presAssocID="{5DF1BD39-F920-4CC6-AB16-6385A43831C7}" presName="dummy" presStyleCnt="0"/>
      <dgm:spPr/>
    </dgm:pt>
    <dgm:pt modelId="{DE46DCBE-091E-46AE-8E36-02A6D89F1B16}" type="pres">
      <dgm:prSet presAssocID="{7B4CF50D-BD78-496B-85A6-9FE73CE91039}" presName="sibTrans" presStyleLbl="sibTrans2D1" presStyleIdx="4" presStyleCnt="6" custScaleX="101831"/>
      <dgm:spPr/>
      <dgm:t>
        <a:bodyPr/>
        <a:lstStyle/>
        <a:p>
          <a:endParaRPr lang="ru-RU"/>
        </a:p>
      </dgm:t>
    </dgm:pt>
    <dgm:pt modelId="{CF3871B6-B8D8-460E-9044-91D94F1391CC}" type="pres">
      <dgm:prSet presAssocID="{2445D6B5-6DC2-4466-86AD-62D6AA8B04E8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099126-EC10-4B49-AD83-156E3B70F1B9}" type="pres">
      <dgm:prSet presAssocID="{2445D6B5-6DC2-4466-86AD-62D6AA8B04E8}" presName="dummy" presStyleCnt="0"/>
      <dgm:spPr/>
    </dgm:pt>
    <dgm:pt modelId="{31FCC828-0574-4F4F-AFCA-FE8459CDC8E7}" type="pres">
      <dgm:prSet presAssocID="{62890C0B-4C41-4814-B7D7-529A137CECD2}" presName="sibTrans" presStyleLbl="sibTrans2D1" presStyleIdx="5" presStyleCnt="6"/>
      <dgm:spPr/>
      <dgm:t>
        <a:bodyPr/>
        <a:lstStyle/>
        <a:p>
          <a:endParaRPr lang="ru-RU"/>
        </a:p>
      </dgm:t>
    </dgm:pt>
  </dgm:ptLst>
  <dgm:cxnLst>
    <dgm:cxn modelId="{5A6295C8-71FC-4C51-B0FA-756D325A94F3}" type="presOf" srcId="{62890C0B-4C41-4814-B7D7-529A137CECD2}" destId="{31FCC828-0574-4F4F-AFCA-FE8459CDC8E7}" srcOrd="0" destOrd="0" presId="urn:microsoft.com/office/officeart/2005/8/layout/radial6"/>
    <dgm:cxn modelId="{FA0D72A0-8108-47BF-81AF-64F4DA27647C}" srcId="{B33BE3FF-4653-486F-BC3A-4558AE19BB3E}" destId="{5DF1BD39-F920-4CC6-AB16-6385A43831C7}" srcOrd="4" destOrd="0" parTransId="{0B6CFB99-7B6F-4D7A-9034-8847D27638D3}" sibTransId="{7B4CF50D-BD78-496B-85A6-9FE73CE91039}"/>
    <dgm:cxn modelId="{9CA467F4-8E9F-4328-91AC-699D3C69EC83}" type="presOf" srcId="{2445D6B5-6DC2-4466-86AD-62D6AA8B04E8}" destId="{CF3871B6-B8D8-460E-9044-91D94F1391CC}" srcOrd="0" destOrd="0" presId="urn:microsoft.com/office/officeart/2005/8/layout/radial6"/>
    <dgm:cxn modelId="{41806B64-3227-42E0-85B2-3573AF1F7508}" type="presOf" srcId="{63DA2AE2-F86A-4C06-BF8F-992B0EAF0E68}" destId="{FEF513FF-D958-4672-AF57-5A0F89C3A2D4}" srcOrd="0" destOrd="0" presId="urn:microsoft.com/office/officeart/2005/8/layout/radial6"/>
    <dgm:cxn modelId="{B1346ADF-295B-4951-903D-A7CDC2597B57}" type="presOf" srcId="{44AE21CC-029D-4AFA-8C74-D2EAE1432FE7}" destId="{9667FD5D-69DB-4844-BB20-6320003B0686}" srcOrd="0" destOrd="0" presId="urn:microsoft.com/office/officeart/2005/8/layout/radial6"/>
    <dgm:cxn modelId="{23451ECE-79FF-43AB-B8FF-F033813EF7F4}" type="presOf" srcId="{FC2423C0-6615-4335-884C-C3CC323AE96A}" destId="{248C3553-F113-41AF-B770-5047C8CBF2BF}" srcOrd="0" destOrd="0" presId="urn:microsoft.com/office/officeart/2005/8/layout/radial6"/>
    <dgm:cxn modelId="{69F3E905-D541-4A86-B35C-4C6DAAAC4776}" type="presOf" srcId="{4DAC5911-B315-4514-94BB-5BA8B4BBC569}" destId="{183C4561-F9CE-4AE9-B5A9-060196A35544}" srcOrd="0" destOrd="0" presId="urn:microsoft.com/office/officeart/2005/8/layout/radial6"/>
    <dgm:cxn modelId="{D39ACCFB-15F0-490F-8453-F77437AEF702}" type="presOf" srcId="{16446A94-1A43-4D49-BE2E-E7587EB4C504}" destId="{C7AFA9D1-034F-4586-AC70-F1206F5337F9}" srcOrd="0" destOrd="0" presId="urn:microsoft.com/office/officeart/2005/8/layout/radial6"/>
    <dgm:cxn modelId="{8836A0B5-A95F-430A-9D89-09D66F6BE458}" type="presOf" srcId="{05B3F794-2996-482B-BB28-37BF3AE64B75}" destId="{A13C5227-3FE3-446E-A3FE-7D622BCD3B48}" srcOrd="0" destOrd="0" presId="urn:microsoft.com/office/officeart/2005/8/layout/radial6"/>
    <dgm:cxn modelId="{0E7E6E97-47A2-4142-A64B-2A2CF60C1CDD}" type="presOf" srcId="{B33BE3FF-4653-486F-BC3A-4558AE19BB3E}" destId="{AF7A5348-7701-4577-BC84-57AF91ECB8C0}" srcOrd="0" destOrd="0" presId="urn:microsoft.com/office/officeart/2005/8/layout/radial6"/>
    <dgm:cxn modelId="{C5D1574C-C609-4AC1-A7AB-0EEDF2A76545}" type="presOf" srcId="{7B4CF50D-BD78-496B-85A6-9FE73CE91039}" destId="{DE46DCBE-091E-46AE-8E36-02A6D89F1B16}" srcOrd="0" destOrd="0" presId="urn:microsoft.com/office/officeart/2005/8/layout/radial6"/>
    <dgm:cxn modelId="{2B836685-0844-4C29-A7B1-C874B6AF6B4F}" srcId="{B33BE3FF-4653-486F-BC3A-4558AE19BB3E}" destId="{63DA2AE2-F86A-4C06-BF8F-992B0EAF0E68}" srcOrd="0" destOrd="0" parTransId="{F6A053BA-2F06-4600-9B32-98B2E09FDBB1}" sibTransId="{4DAC5911-B315-4514-94BB-5BA8B4BBC569}"/>
    <dgm:cxn modelId="{DD63B986-76ED-4818-8A68-8D79C733CDBC}" srcId="{B33BE3FF-4653-486F-BC3A-4558AE19BB3E}" destId="{05B3F794-2996-482B-BB28-37BF3AE64B75}" srcOrd="3" destOrd="0" parTransId="{A85EE6AE-433A-4AED-B1B9-BA7A78945297}" sibTransId="{16446A94-1A43-4D49-BE2E-E7587EB4C504}"/>
    <dgm:cxn modelId="{4E21CD70-A402-4279-87F3-C6B1E23A7693}" srcId="{B33BE3FF-4653-486F-BC3A-4558AE19BB3E}" destId="{CB294729-4AE7-4676-9E1A-C8DAD4236FB6}" srcOrd="1" destOrd="0" parTransId="{1ECD427E-7A5E-40BB-90C3-4769063CBBAB}" sibTransId="{44AE21CC-029D-4AFA-8C74-D2EAE1432FE7}"/>
    <dgm:cxn modelId="{0B44ED14-B989-45EC-ABA6-6CF65EC66BA7}" type="presOf" srcId="{CB294729-4AE7-4676-9E1A-C8DAD4236FB6}" destId="{66F7E07D-36D1-4F43-AD3F-940E2FC4CA9C}" srcOrd="0" destOrd="0" presId="urn:microsoft.com/office/officeart/2005/8/layout/radial6"/>
    <dgm:cxn modelId="{38D3F2A2-DD57-49B5-95E3-54847237FE3E}" type="presOf" srcId="{5DF1BD39-F920-4CC6-AB16-6385A43831C7}" destId="{BDC1A006-745E-4652-8CBC-8529B7FBD94A}" srcOrd="0" destOrd="0" presId="urn:microsoft.com/office/officeart/2005/8/layout/radial6"/>
    <dgm:cxn modelId="{30E7BB7B-4CE4-49DC-9B96-C39DA02D99BC}" srcId="{B33BE3FF-4653-486F-BC3A-4558AE19BB3E}" destId="{2445D6B5-6DC2-4466-86AD-62D6AA8B04E8}" srcOrd="5" destOrd="0" parTransId="{C9B209ED-6034-4080-80A1-8244CBC47A5C}" sibTransId="{62890C0B-4C41-4814-B7D7-529A137CECD2}"/>
    <dgm:cxn modelId="{054DA083-3FC1-46A9-A978-D16838BA4054}" type="presOf" srcId="{C5EC1F5D-F794-4152-90F9-3CF928D7323B}" destId="{D6F60576-D4DE-4067-98E1-36B2C204CEBD}" srcOrd="0" destOrd="0" presId="urn:microsoft.com/office/officeart/2005/8/layout/radial6"/>
    <dgm:cxn modelId="{8DB21395-8600-418A-802B-8D37B570AB76}" srcId="{C5EC1F5D-F794-4152-90F9-3CF928D7323B}" destId="{B33BE3FF-4653-486F-BC3A-4558AE19BB3E}" srcOrd="0" destOrd="0" parTransId="{651CF9E5-339F-413C-9B40-B98642913A85}" sibTransId="{CCF509EE-23C4-48BC-9D1F-48D51408A440}"/>
    <dgm:cxn modelId="{F7E03CD0-897A-450C-BA0F-47F64C0C3A5D}" type="presOf" srcId="{456E1002-8CC8-4B5A-920C-F874BBBA7512}" destId="{6F8DCE07-477A-4999-AAC5-A51F2EE62716}" srcOrd="0" destOrd="0" presId="urn:microsoft.com/office/officeart/2005/8/layout/radial6"/>
    <dgm:cxn modelId="{C038B378-71EF-422F-B163-C0D22569160F}" srcId="{B33BE3FF-4653-486F-BC3A-4558AE19BB3E}" destId="{FC2423C0-6615-4335-884C-C3CC323AE96A}" srcOrd="2" destOrd="0" parTransId="{FB63722F-BFE6-4F97-A242-9913EE7077A5}" sibTransId="{456E1002-8CC8-4B5A-920C-F874BBBA7512}"/>
    <dgm:cxn modelId="{DD9914EA-5B44-4DBE-A29E-B5D4FCE8D3B5}" type="presParOf" srcId="{D6F60576-D4DE-4067-98E1-36B2C204CEBD}" destId="{AF7A5348-7701-4577-BC84-57AF91ECB8C0}" srcOrd="0" destOrd="0" presId="urn:microsoft.com/office/officeart/2005/8/layout/radial6"/>
    <dgm:cxn modelId="{57A52771-B969-4018-9F40-876E618B647F}" type="presParOf" srcId="{D6F60576-D4DE-4067-98E1-36B2C204CEBD}" destId="{FEF513FF-D958-4672-AF57-5A0F89C3A2D4}" srcOrd="1" destOrd="0" presId="urn:microsoft.com/office/officeart/2005/8/layout/radial6"/>
    <dgm:cxn modelId="{A9321421-1C50-4C18-931D-192E71AEA459}" type="presParOf" srcId="{D6F60576-D4DE-4067-98E1-36B2C204CEBD}" destId="{46855FF5-76C7-4C56-8665-5B17CBB9E212}" srcOrd="2" destOrd="0" presId="urn:microsoft.com/office/officeart/2005/8/layout/radial6"/>
    <dgm:cxn modelId="{7140563A-6CC5-4150-B76F-A05A355421BB}" type="presParOf" srcId="{D6F60576-D4DE-4067-98E1-36B2C204CEBD}" destId="{183C4561-F9CE-4AE9-B5A9-060196A35544}" srcOrd="3" destOrd="0" presId="urn:microsoft.com/office/officeart/2005/8/layout/radial6"/>
    <dgm:cxn modelId="{F5A7941D-D658-469C-830F-CB5D2BC62B77}" type="presParOf" srcId="{D6F60576-D4DE-4067-98E1-36B2C204CEBD}" destId="{66F7E07D-36D1-4F43-AD3F-940E2FC4CA9C}" srcOrd="4" destOrd="0" presId="urn:microsoft.com/office/officeart/2005/8/layout/radial6"/>
    <dgm:cxn modelId="{17529CA2-4E34-4184-8F65-25C6A0CD6DBC}" type="presParOf" srcId="{D6F60576-D4DE-4067-98E1-36B2C204CEBD}" destId="{A59667C5-20BF-41E7-8027-8CD436500449}" srcOrd="5" destOrd="0" presId="urn:microsoft.com/office/officeart/2005/8/layout/radial6"/>
    <dgm:cxn modelId="{E56D070E-24C4-4C0C-865F-137F90D9990F}" type="presParOf" srcId="{D6F60576-D4DE-4067-98E1-36B2C204CEBD}" destId="{9667FD5D-69DB-4844-BB20-6320003B0686}" srcOrd="6" destOrd="0" presId="urn:microsoft.com/office/officeart/2005/8/layout/radial6"/>
    <dgm:cxn modelId="{FEF4323D-E4EF-48AD-A19C-65EF8A86385A}" type="presParOf" srcId="{D6F60576-D4DE-4067-98E1-36B2C204CEBD}" destId="{248C3553-F113-41AF-B770-5047C8CBF2BF}" srcOrd="7" destOrd="0" presId="urn:microsoft.com/office/officeart/2005/8/layout/radial6"/>
    <dgm:cxn modelId="{DA7536DB-7730-455B-BA45-9AB399045E0B}" type="presParOf" srcId="{D6F60576-D4DE-4067-98E1-36B2C204CEBD}" destId="{FEAB0D53-4E27-4256-A54A-F1061C510607}" srcOrd="8" destOrd="0" presId="urn:microsoft.com/office/officeart/2005/8/layout/radial6"/>
    <dgm:cxn modelId="{7D8E300A-4211-45E0-9989-6174746F5E9D}" type="presParOf" srcId="{D6F60576-D4DE-4067-98E1-36B2C204CEBD}" destId="{6F8DCE07-477A-4999-AAC5-A51F2EE62716}" srcOrd="9" destOrd="0" presId="urn:microsoft.com/office/officeart/2005/8/layout/radial6"/>
    <dgm:cxn modelId="{893B1354-9977-4347-BA5F-76347B511491}" type="presParOf" srcId="{D6F60576-D4DE-4067-98E1-36B2C204CEBD}" destId="{A13C5227-3FE3-446E-A3FE-7D622BCD3B48}" srcOrd="10" destOrd="0" presId="urn:microsoft.com/office/officeart/2005/8/layout/radial6"/>
    <dgm:cxn modelId="{DA9AE82D-56FC-4B42-AFC8-262B543AFF7D}" type="presParOf" srcId="{D6F60576-D4DE-4067-98E1-36B2C204CEBD}" destId="{0C81AA38-22EC-478F-88CB-1575FA7A2C0D}" srcOrd="11" destOrd="0" presId="urn:microsoft.com/office/officeart/2005/8/layout/radial6"/>
    <dgm:cxn modelId="{BEBB25BF-82A2-4552-9F80-8885B1F01DB3}" type="presParOf" srcId="{D6F60576-D4DE-4067-98E1-36B2C204CEBD}" destId="{C7AFA9D1-034F-4586-AC70-F1206F5337F9}" srcOrd="12" destOrd="0" presId="urn:microsoft.com/office/officeart/2005/8/layout/radial6"/>
    <dgm:cxn modelId="{D6A03498-4E1F-4D66-8768-B43AB1E9788C}" type="presParOf" srcId="{D6F60576-D4DE-4067-98E1-36B2C204CEBD}" destId="{BDC1A006-745E-4652-8CBC-8529B7FBD94A}" srcOrd="13" destOrd="0" presId="urn:microsoft.com/office/officeart/2005/8/layout/radial6"/>
    <dgm:cxn modelId="{06DE21C7-5EA0-4375-93FD-93F42C51D691}" type="presParOf" srcId="{D6F60576-D4DE-4067-98E1-36B2C204CEBD}" destId="{86FEBFCA-ED1F-493A-ABCB-D6B28B18A9B1}" srcOrd="14" destOrd="0" presId="urn:microsoft.com/office/officeart/2005/8/layout/radial6"/>
    <dgm:cxn modelId="{0C24FAA1-B62D-4B05-A790-967AF697B860}" type="presParOf" srcId="{D6F60576-D4DE-4067-98E1-36B2C204CEBD}" destId="{DE46DCBE-091E-46AE-8E36-02A6D89F1B16}" srcOrd="15" destOrd="0" presId="urn:microsoft.com/office/officeart/2005/8/layout/radial6"/>
    <dgm:cxn modelId="{34764708-B686-43D9-9558-47E4BB4D518C}" type="presParOf" srcId="{D6F60576-D4DE-4067-98E1-36B2C204CEBD}" destId="{CF3871B6-B8D8-460E-9044-91D94F1391CC}" srcOrd="16" destOrd="0" presId="urn:microsoft.com/office/officeart/2005/8/layout/radial6"/>
    <dgm:cxn modelId="{C7360765-CD2F-49E6-BE61-76519274CCB5}" type="presParOf" srcId="{D6F60576-D4DE-4067-98E1-36B2C204CEBD}" destId="{9F099126-EC10-4B49-AD83-156E3B70F1B9}" srcOrd="17" destOrd="0" presId="urn:microsoft.com/office/officeart/2005/8/layout/radial6"/>
    <dgm:cxn modelId="{D9B83602-AFAD-4D2E-9521-87D27E4E475D}" type="presParOf" srcId="{D6F60576-D4DE-4067-98E1-36B2C204CEBD}" destId="{31FCC828-0574-4F4F-AFCA-FE8459CDC8E7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C92CB-39BF-4A12-B4FD-6646A89C9E9A}" type="datetimeFigureOut">
              <a:rPr lang="ru-RU" smtClean="0"/>
              <a:t>19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EB1B92-79F1-4E63-AC41-C99726E636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3328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0412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6234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20033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55223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7534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51837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73680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06461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5396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79987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2789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6166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6043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79701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06459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09415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98113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4585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81643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2196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7261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3281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91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8652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3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3598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B1B92-79F1-4E63-AC41-C99726E636CE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9879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891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411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3127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648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427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779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816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02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897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5048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475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smtClean="0"/>
              <a:pPr/>
              <a:t>11/1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218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31.jpeg"/><Relationship Id="rId4" Type="http://schemas.openxmlformats.org/officeDocument/2006/relationships/image" Target="../media/image3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4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6" Type="http://schemas.openxmlformats.org/officeDocument/2006/relationships/package" Target="../embeddings/____________Microsoft_PowerPoint1.pptx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g"/><Relationship Id="rId5" Type="http://schemas.openxmlformats.org/officeDocument/2006/relationships/image" Target="../media/image37.jpg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G"/><Relationship Id="rId5" Type="http://schemas.openxmlformats.org/officeDocument/2006/relationships/image" Target="../media/image42.JP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notesSlide" Target="../notesSlides/notesSlide21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image" Target="../media/image1.png"/><Relationship Id="rId10" Type="http://schemas.openxmlformats.org/officeDocument/2006/relationships/image" Target="../media/image8.emf"/><Relationship Id="rId4" Type="http://schemas.openxmlformats.org/officeDocument/2006/relationships/image" Target="../media/image9.emf"/><Relationship Id="rId9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2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emf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8.jpeg"/><Relationship Id="rId5" Type="http://schemas.openxmlformats.org/officeDocument/2006/relationships/image" Target="../media/image14.png"/><Relationship Id="rId15" Type="http://schemas.openxmlformats.org/officeDocument/2006/relationships/image" Target="../media/image20.jpeg"/><Relationship Id="rId10" Type="http://schemas.openxmlformats.org/officeDocument/2006/relationships/image" Target="../media/image17.jpeg"/><Relationship Id="rId4" Type="http://schemas.openxmlformats.org/officeDocument/2006/relationships/image" Target="../media/image13.png"/><Relationship Id="rId9" Type="http://schemas.openxmlformats.org/officeDocument/2006/relationships/image" Target="../media/image16.png"/><Relationship Id="rId1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016000" y="1066800"/>
            <a:ext cx="7772399" cy="348691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800" dirty="0" smtClean="0"/>
              <a:t>Социальные </a:t>
            </a:r>
            <a:r>
              <a:rPr lang="ru-RU" sz="4800" smtClean="0"/>
              <a:t>преференции </a:t>
            </a:r>
            <a:r>
              <a:rPr lang="ru-RU" sz="4800" smtClean="0"/>
              <a:t/>
            </a:r>
            <a:br>
              <a:rPr lang="ru-RU" sz="4800" smtClean="0"/>
            </a:br>
            <a:r>
              <a:rPr lang="ru-RU" sz="4800" smtClean="0"/>
              <a:t>для членов </a:t>
            </a:r>
            <a:r>
              <a:rPr lang="ru-RU" sz="4800" dirty="0" smtClean="0"/>
              <a:t>Профсоюза в рамках программы «Здоровый член Профсоюза - здоровый коллектив, здоровая область»  </a:t>
            </a:r>
            <a:endParaRPr lang="ru-RU" sz="4800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016000" y="5118100"/>
            <a:ext cx="7772399" cy="596900"/>
          </a:xfrm>
        </p:spPr>
        <p:txBody>
          <a:bodyPr/>
          <a:lstStyle/>
          <a:p>
            <a:pPr algn="ctr"/>
            <a:r>
              <a:rPr lang="ru-RU" dirty="0" smtClean="0"/>
              <a:t> 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3 ноября 2020 г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45555" y="963606"/>
            <a:ext cx="1597290" cy="160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285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481869" y="571501"/>
            <a:ext cx="2401133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отдыха  «Учитель» </a:t>
            </a:r>
            <a:b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Ялта, Крым) </a:t>
            </a:r>
            <a:b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живание, питание, экскурсии, доставка к пляжу.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молод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едагогов»</a:t>
            </a: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0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(6дней)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 Программа «Бархатный сезон для бархатного возраста» от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00 руб. (6 дней)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езды  13 дней от 14500 руб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К «Ялта – круглый год»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00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руб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369300" y="-38100"/>
            <a:ext cx="367233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за отдыха «Дубовая роща» 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</a:t>
            </a:r>
            <a:r>
              <a:rPr lang="ru-RU" sz="16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реднеахтубинский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район) – 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%</a:t>
            </a:r>
            <a:r>
              <a:rPr lang="ru-RU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кидка  </a:t>
            </a:r>
          </a:p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228" y="1041268"/>
            <a:ext cx="3311462" cy="268734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8683" y="1103851"/>
            <a:ext cx="3097366" cy="232995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1327" y="3207544"/>
            <a:ext cx="3250305" cy="253185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228" y="3704988"/>
            <a:ext cx="3812730" cy="2646711"/>
          </a:xfrm>
          <a:prstGeom prst="rect">
            <a:avLst/>
          </a:prstGeom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114300" y="381000"/>
            <a:ext cx="3369628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086" y="0"/>
            <a:ext cx="1411897" cy="141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959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483928" y="180229"/>
            <a:ext cx="4404228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орий «</a:t>
            </a:r>
            <a:r>
              <a:rPr lang="ru-RU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крополь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(с 2015 года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овейший медицинский центр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единственный в России немецкий центр «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Новенталис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уникальная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акска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грязь и рап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кидка  на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лечебных программ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грамма « Оздоровление» 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руб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4795" y="2774640"/>
            <a:ext cx="3797036" cy="228105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7396" y="4477683"/>
            <a:ext cx="3173504" cy="1990276"/>
          </a:xfrm>
          <a:prstGeom prst="rect">
            <a:avLst/>
          </a:prstGeom>
        </p:spPr>
      </p:pic>
      <p:pic>
        <p:nvPicPr>
          <p:cNvPr id="14" name="Picture 3" descr="Z:\М.Н. ФЕДОТОВА\19.06.2019\DSCF4516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99661" y="1984223"/>
            <a:ext cx="3806377" cy="2239046"/>
          </a:xfrm>
          <a:prstGeom prst="rect">
            <a:avLst/>
          </a:prstGeom>
          <a:noFill/>
        </p:spPr>
      </p:pic>
      <p:sp>
        <p:nvSpPr>
          <p:cNvPr id="12" name="Прямоугольник 11"/>
          <p:cNvSpPr/>
          <p:nvPr/>
        </p:nvSpPr>
        <p:spPr>
          <a:xfrm>
            <a:off x="7924800" y="180229"/>
            <a:ext cx="435610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циально – оздоровительный центр </a:t>
            </a:r>
            <a:r>
              <a:rPr lang="ru-RU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ргенинский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кидка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т стоимости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путевок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етские программы оздоровления - 40% скидка от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0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руб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враль 2020   – 1250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уб./ден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auto">
          <a:xfrm>
            <a:off x="8470900" y="4587225"/>
            <a:ext cx="359410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ьное предложение для школьников Волгограда!</a:t>
            </a:r>
            <a:endParaRPr lang="ru-RU" altLang="ru-RU" dirty="0"/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 25 октября 2019 г</a:t>
            </a:r>
            <a:endParaRPr lang="ru-RU" altLang="ru-RU" dirty="0"/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КРЕПИ ИММУНИТЕТ!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114300" y="381000"/>
            <a:ext cx="3369628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4380" y="55520"/>
            <a:ext cx="1411897" cy="141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92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067300" y="-1"/>
            <a:ext cx="6819899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  <a:p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ое государственное бюджетное учреждение «Северо-Кавказский федеральный научно-клинический центр Федерального медико-биологического агентства»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учреждений здравоохран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се направления лечения  скидка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8599340"/>
              </p:ext>
            </p:extLst>
          </p:nvPr>
        </p:nvGraphicFramePr>
        <p:xfrm>
          <a:off x="4029049" y="1610115"/>
          <a:ext cx="7858150" cy="49252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Acrobat Document" r:id="rId4" imgW="9601200" imgH="7200642" progId="Acrobat.Document.11">
                  <p:embed/>
                </p:oleObj>
              </mc:Choice>
              <mc:Fallback>
                <p:oleObj name="Acrobat Document" r:id="rId4" imgW="9601200" imgH="7200642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029049" y="1610115"/>
                        <a:ext cx="7858150" cy="49252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"/>
          <p:cNvSpPr txBox="1">
            <a:spLocks/>
          </p:cNvSpPr>
          <p:nvPr/>
        </p:nvSpPr>
        <p:spPr>
          <a:xfrm>
            <a:off x="82841" y="490238"/>
            <a:ext cx="3768582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76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067300" y="-1"/>
            <a:ext cx="6819899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  <a:p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ое государственное бюджетное учреждение «Северо-Кавказский федеральный научно-клинический центр Федерального медико-биологического агентства»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учреждений здравоохран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се направления лечения  скидка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4270041"/>
              </p:ext>
            </p:extLst>
          </p:nvPr>
        </p:nvGraphicFramePr>
        <p:xfrm>
          <a:off x="38099" y="70919"/>
          <a:ext cx="11849100" cy="82567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Acrobat Document" r:id="rId4" imgW="9601200" imgH="7200642" progId="Acrobat.Document.11">
                  <p:embed/>
                </p:oleObj>
              </mc:Choice>
              <mc:Fallback>
                <p:oleObj name="Acrobat Document" r:id="rId4" imgW="9601200" imgH="7200642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099" y="70919"/>
                        <a:ext cx="11849100" cy="82567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68697"/>
            <a:ext cx="1574799" cy="15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5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013200" y="0"/>
            <a:ext cx="7213599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  <a:p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ое государственное бюджетное учреждение «Северо-Кавказский федеральный научно-клинический центр Федерального медико-биологического агентства»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учреждений здравоохран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се направления лечения  скидка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1" dirty="0"/>
              <a:t> 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Ц Юность ⭐⭐⭐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действует программа «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эшбек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% от Ростуризм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живание, с 3-х разовым питанием и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чением 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00 руб./</a:t>
            </a: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тк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🎁 вы получите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эшбек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! 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при покупке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утевку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кабря 2020г.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82841" y="490238"/>
            <a:ext cx="3768582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graphicFrame>
        <p:nvGraphicFramePr>
          <p:cNvPr id="2" name="Объект 1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0469871"/>
              </p:ext>
            </p:extLst>
          </p:nvPr>
        </p:nvGraphicFramePr>
        <p:xfrm>
          <a:off x="4317999" y="3114736"/>
          <a:ext cx="6656039" cy="37432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Презентация" r:id="rId6" imgW="6094431" imgH="3427315" progId="PowerPoint.Show.12">
                  <p:embed/>
                </p:oleObj>
              </mc:Choice>
              <mc:Fallback>
                <p:oleObj name="Презентация" r:id="rId6" imgW="6094431" imgH="3427315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317999" y="3114736"/>
                        <a:ext cx="6656039" cy="37432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37668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178299" y="88913"/>
            <a:ext cx="770890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ое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бюджетное учреждение «Северо-Кавказский федеральный научно-клинический центр Федерального медико-биологического агентства»:</a:t>
            </a:r>
          </a:p>
          <a:p>
            <a:r>
              <a:rPr lang="ru-RU" b="1" dirty="0"/>
              <a:t> 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0316" y="1022863"/>
            <a:ext cx="3959867" cy="5545664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067322" y="1275294"/>
            <a:ext cx="812467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ЖДЕСТВЕНСКИЙ ПОДАРОК»: С 20.12.2020 г. по 10.01.2021 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тевка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наторий 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ат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в горах Домбая</a:t>
            </a:r>
            <a:r>
              <a:rPr 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в 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ный двухместный номер 3корпус   –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60руб./сутки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</a:rPr>
              <a:t> 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</a:rPr>
              <a:t>(оздоровительная, полный пансион</a:t>
            </a:r>
            <a:r>
              <a:rPr lang="ru-RU" sz="16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</a:p>
          <a:p>
            <a:endParaRPr lang="ru-RU" sz="1600" b="1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«РЕАБИЛИТАЦИЯ ПАЦИЕНТОВ ПОСЛЕ ПЕРЕНЕСЕННОЙ КОРОНОВИРУСНОЙ ИНФЕКЦИИ COVID-19»</a:t>
            </a:r>
            <a:b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КИДКОЙ 15 % -от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75 руб./сутки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(лечение с медикаментозной поддержкой, питание, проживание в 2-местном номере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наторий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ени С.М. Кирова г. Пятигорск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наторий Смена г. Кисловодск  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10 руб./сутки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+🎁Астма Школа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/>
              <a:t> </a:t>
            </a:r>
            <a:endParaRPr lang="ru-RU" dirty="0"/>
          </a:p>
          <a:p>
            <a:endParaRPr lang="ru-RU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b="1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b="1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b="1" dirty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ru-RU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4338" name="Picture 2" descr="https://russ.travel/hotels/images/account/727910E8-9367-4C96-A027-4192C8A17D68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299" y="3913826"/>
            <a:ext cx="7329478" cy="2855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53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067300" y="-1"/>
            <a:ext cx="6819899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  <a:p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орий «Сотник» (Новоаннинский район) от 2240 руб./ сутки </a:t>
            </a:r>
          </a:p>
          <a:p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 лечением)</a:t>
            </a:r>
          </a:p>
          <a:p>
            <a:pPr>
              <a:spcAft>
                <a:spcPts val="0"/>
              </a:spcAft>
            </a:pP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кидка членам профсоюза до 30 </a:t>
            </a:r>
            <a:r>
              <a:rPr lang="ru-RU" sz="20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% от </a:t>
            </a:r>
            <a:r>
              <a:rPr lang="ru-RU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тоимости </a:t>
            </a:r>
            <a:r>
              <a:rPr lang="ru-RU" sz="20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путевок</a:t>
            </a:r>
            <a:r>
              <a:rPr lang="ru-RU" sz="20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, специальные </a:t>
            </a:r>
            <a:r>
              <a:rPr lang="ru-RU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дложения и программы</a:t>
            </a:r>
            <a:endParaRPr lang="ru-RU" sz="20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b="1" i="1" dirty="0" smtClean="0"/>
              <a:t>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114300" y="381000"/>
            <a:ext cx="3657600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500" y="4129379"/>
            <a:ext cx="2857500" cy="253062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3866" y="1767737"/>
            <a:ext cx="3399248" cy="22573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646" y="1884022"/>
            <a:ext cx="6173570" cy="4386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457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067300" y="-1"/>
            <a:ext cx="6819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114300" y="381000"/>
            <a:ext cx="3657600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4787" y="70919"/>
            <a:ext cx="3857625" cy="68580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216400" y="673100"/>
            <a:ext cx="300153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ейная сыроварня </a:t>
            </a:r>
            <a:b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инодельня Гусевых 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.Дубовка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л. Виноградная, 2А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кидка  до </a:t>
            </a:r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 дегустаци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454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083051" y="289808"/>
            <a:ext cx="74562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114300" y="381000"/>
            <a:ext cx="3657600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3051" y="474474"/>
            <a:ext cx="8086770" cy="6235700"/>
          </a:xfrm>
          <a:prstGeom prst="rect">
            <a:avLst/>
          </a:prstGeom>
          <a:solidFill>
            <a:srgbClr val="FFFF00"/>
          </a:solidFill>
        </p:spPr>
      </p:pic>
      <p:sp>
        <p:nvSpPr>
          <p:cNvPr id="9" name="Скругленный прямоугольник 8"/>
          <p:cNvSpPr/>
          <p:nvPr/>
        </p:nvSpPr>
        <p:spPr>
          <a:xfrm>
            <a:off x="3917951" y="253188"/>
            <a:ext cx="8131128" cy="76648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ть клиник «Панацея» - 5% скидка  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7630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i="1" dirty="0" smtClean="0">
                <a:solidFill>
                  <a:schemeClr val="tx1"/>
                </a:solidFill>
              </a:rPr>
              <a:t> </a:t>
            </a:r>
            <a:endParaRPr lang="ru-RU" i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067300" y="-1"/>
            <a:ext cx="681989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  <a:p>
            <a:pPr algn="ctr"/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ансионат «</a:t>
            </a:r>
            <a:r>
              <a:rPr lang="ru-RU" sz="28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ВатерЛоо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» (Сочи, </a:t>
            </a:r>
            <a:r>
              <a:rPr lang="ru-RU" sz="28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Лоо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)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кидка – 20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,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мейные скидки –членам Профсоюза 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646" y="3518034"/>
            <a:ext cx="6972298" cy="290842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2646" y="1305823"/>
            <a:ext cx="3011204" cy="200746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3273" y="1203979"/>
            <a:ext cx="4268790" cy="2845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607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14300" y="1104900"/>
            <a:ext cx="3746499" cy="4620120"/>
          </a:xfrm>
        </p:spPr>
        <p:txBody>
          <a:bodyPr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 -</a:t>
            </a:r>
            <a:b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чем ОНИ мне?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8651437"/>
              </p:ext>
            </p:extLst>
          </p:nvPr>
        </p:nvGraphicFramePr>
        <p:xfrm>
          <a:off x="3632199" y="228600"/>
          <a:ext cx="7747001" cy="54964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150" y="200196"/>
            <a:ext cx="1574799" cy="1580810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3530599" y="990601"/>
            <a:ext cx="4000500" cy="3937000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ая программа — это совокупность, система социальных мероприятий, направленных </a:t>
            </a:r>
            <a:r>
              <a:rPr lang="ru-RU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конкретной социальной </a:t>
            </a:r>
            <a:r>
              <a:rPr lang="ru-RU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чи: </a:t>
            </a:r>
            <a:endParaRPr lang="ru-RU" dirty="0">
              <a:ln w="0"/>
              <a:solidFill>
                <a:srgbClr val="FF000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632199" y="5041900"/>
            <a:ext cx="7239001" cy="168910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</a:pPr>
            <a:endParaRPr lang="ru-RU" sz="1600" b="1" dirty="0" smtClean="0">
              <a:solidFill>
                <a:sysClr val="windowText" lastClr="00000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вышение </a:t>
            </a:r>
            <a:r>
              <a:rPr lang="ru-RU" sz="1600" b="1" dirty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естижа </a:t>
            </a: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офессии педагога </a:t>
            </a:r>
            <a:b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</a:t>
            </a:r>
            <a:r>
              <a:rPr lang="ru-RU" sz="1600" b="1" dirty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офессиональной среде и в обществе;</a:t>
            </a:r>
            <a:endParaRPr lang="ru-RU" sz="1600" b="1" dirty="0">
              <a:solidFill>
                <a:sysClr val="windowText" lastClr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вышение </a:t>
            </a:r>
            <a:r>
              <a:rPr lang="ru-RU" sz="1600" b="1" dirty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циального статуса работников </a:t>
            </a: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бразования </a:t>
            </a:r>
            <a:b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обучающихся;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даптация молодых педагогов к профессиональной деятельности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ru-RU" sz="1600" b="1" dirty="0" smtClean="0">
                <a:solidFill>
                  <a:sysClr val="windowText" lastClr="00000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оздоровление членов Профсоюза;</a:t>
            </a:r>
          </a:p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………………………………..</a:t>
            </a:r>
            <a:r>
              <a:rPr lang="ru-RU" sz="2000" b="1" dirty="0" smtClean="0">
                <a:solidFill>
                  <a:prstClr val="white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/>
            </a:r>
            <a:br>
              <a:rPr lang="ru-RU" sz="2000" b="1" dirty="0" smtClean="0">
                <a:solidFill>
                  <a:prstClr val="white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9040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5" grpId="0" animBg="1"/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7300" y="1639758"/>
            <a:ext cx="6464300" cy="517144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067300" y="-1"/>
            <a:ext cx="6819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114300" y="381000"/>
            <a:ext cx="3657600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559300" y="333159"/>
            <a:ext cx="67945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2000" b="1" kern="100" dirty="0">
                <a:solidFill>
                  <a:srgbClr val="FF0000"/>
                </a:solidFill>
                <a:latin typeface="Times New Roman" panose="02020603050405020304" pitchFamily="18" charset="0"/>
                <a:ea typeface="Lucida Sans Unicode" panose="020B0602030504020204" pitchFamily="34" charset="0"/>
              </a:rPr>
              <a:t>ООО «Волгоградское отделение Сочинского курортного </a:t>
            </a:r>
            <a:r>
              <a:rPr lang="ru-RU" sz="2000" b="1" kern="100" dirty="0" err="1">
                <a:solidFill>
                  <a:srgbClr val="FF0000"/>
                </a:solidFill>
                <a:latin typeface="Times New Roman" panose="02020603050405020304" pitchFamily="18" charset="0"/>
                <a:ea typeface="Lucida Sans Unicode" panose="020B0602030504020204" pitchFamily="34" charset="0"/>
              </a:rPr>
              <a:t>обьединения</a:t>
            </a:r>
            <a:r>
              <a:rPr lang="ru-RU" sz="2000" b="1" kern="100" dirty="0">
                <a:solidFill>
                  <a:srgbClr val="FF0000"/>
                </a:solidFill>
                <a:latin typeface="Times New Roman" panose="02020603050405020304" pitchFamily="18" charset="0"/>
                <a:ea typeface="Lucida Sans Unicode" panose="020B0602030504020204" pitchFamily="34" charset="0"/>
              </a:rPr>
              <a:t>» (ВОСКО)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59600" y="702492"/>
            <a:ext cx="5930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tabLst>
                <a:tab pos="1350645" algn="l"/>
              </a:tabLst>
            </a:pPr>
            <a:endParaRPr lang="ru-RU" kern="100" dirty="0" smtClean="0">
              <a:latin typeface="Times New Roman" panose="02020603050405020304" pitchFamily="18" charset="0"/>
              <a:ea typeface="Lucida Sans Unicode" panose="020B0602030504020204" pitchFamily="34" charset="0"/>
            </a:endParaRPr>
          </a:p>
          <a:p>
            <a:pPr>
              <a:spcAft>
                <a:spcPts val="0"/>
              </a:spcAft>
              <a:tabLst>
                <a:tab pos="1350645" algn="l"/>
              </a:tabLst>
            </a:pPr>
            <a:r>
              <a:rPr lang="ru-RU" kern="100" dirty="0" smtClean="0">
                <a:latin typeface="Times New Roman" panose="02020603050405020304" pitchFamily="18" charset="0"/>
                <a:ea typeface="Lucida Sans Unicode" panose="020B0602030504020204" pitchFamily="34" charset="0"/>
              </a:rPr>
              <a:t>От </a:t>
            </a:r>
            <a:r>
              <a:rPr lang="ru-RU" kern="100" dirty="0">
                <a:latin typeface="Times New Roman" panose="02020603050405020304" pitchFamily="18" charset="0"/>
                <a:ea typeface="Lucida Sans Unicode" panose="020B0602030504020204" pitchFamily="34" charset="0"/>
              </a:rPr>
              <a:t>30 человек -10% от стоимости по </a:t>
            </a:r>
            <a:r>
              <a:rPr lang="ru-RU" kern="100" dirty="0" smtClean="0">
                <a:latin typeface="Times New Roman" panose="02020603050405020304" pitchFamily="18" charset="0"/>
                <a:ea typeface="Lucida Sans Unicode" panose="020B0602030504020204" pitchFamily="34" charset="0"/>
              </a:rPr>
              <a:t>прейскуранту</a:t>
            </a:r>
            <a:endParaRPr lang="ru-RU" sz="2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kern="100" dirty="0">
                <a:latin typeface="Times New Roman" panose="02020603050405020304" pitchFamily="18" charset="0"/>
                <a:ea typeface="Lucida Sans Unicode" panose="020B0602030504020204" pitchFamily="34" charset="0"/>
              </a:rPr>
              <a:t>От 40 человек -15% от стоимости по </a:t>
            </a:r>
            <a:r>
              <a:rPr lang="ru-RU" kern="100" dirty="0" smtClean="0">
                <a:latin typeface="Times New Roman" panose="02020603050405020304" pitchFamily="18" charset="0"/>
                <a:ea typeface="Lucida Sans Unicode" panose="020B0602030504020204" pitchFamily="34" charset="0"/>
              </a:rPr>
              <a:t>прейскуранту</a:t>
            </a:r>
            <a:endParaRPr lang="ru-RU" sz="2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35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7228" y="1767737"/>
            <a:ext cx="5143500" cy="411480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067300" y="83649"/>
            <a:ext cx="6819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5399" y="525698"/>
            <a:ext cx="3657600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5629" y="131410"/>
            <a:ext cx="8562280" cy="205066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9400" y="4845350"/>
            <a:ext cx="1574799" cy="1580810"/>
          </a:xfrm>
          <a:prstGeom prst="rect">
            <a:avLst/>
          </a:prstGeom>
        </p:spPr>
      </p:pic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5763802"/>
              </p:ext>
            </p:extLst>
          </p:nvPr>
        </p:nvGraphicFramePr>
        <p:xfrm>
          <a:off x="7901071" y="1716817"/>
          <a:ext cx="4076117" cy="5767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Acrobat Document" r:id="rId7" imgW="5667122" imgH="8019837" progId="Acrobat.Document.11">
                  <p:embed/>
                </p:oleObj>
              </mc:Choice>
              <mc:Fallback>
                <p:oleObj name="Acrobat Document" r:id="rId7" imgW="5667122" imgH="8019837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901071" y="1716817"/>
                        <a:ext cx="4076117" cy="5767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583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5067300" y="-1"/>
            <a:ext cx="6819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 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28048" y="1019670"/>
            <a:ext cx="388843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03564" y="127529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6388030" y="460068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114300" y="381000"/>
            <a:ext cx="3657600" cy="6045160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1" y="70919"/>
            <a:ext cx="1574799" cy="15808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3051" y="359825"/>
            <a:ext cx="7609387" cy="6087510"/>
          </a:xfrm>
          <a:prstGeom prst="rect">
            <a:avLst/>
          </a:prstGeom>
        </p:spPr>
      </p:pic>
      <p:sp>
        <p:nvSpPr>
          <p:cNvPr id="16" name="Скругленный прямоугольник 15"/>
          <p:cNvSpPr/>
          <p:nvPr/>
        </p:nvSpPr>
        <p:spPr>
          <a:xfrm>
            <a:off x="4806949" y="333886"/>
            <a:ext cx="6174318" cy="6055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дущее!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214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i="1" dirty="0" smtClean="0">
                <a:solidFill>
                  <a:schemeClr val="tx1"/>
                </a:solidFill>
              </a:rPr>
              <a:t> </a:t>
            </a:r>
            <a:endParaRPr lang="ru-RU" i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4241800" y="448267"/>
            <a:ext cx="6942667" cy="266649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дают социальные программы?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41801" y="3318256"/>
            <a:ext cx="6942667" cy="266649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Ы !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99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i="1" dirty="0" smtClean="0">
                <a:solidFill>
                  <a:schemeClr val="tx1"/>
                </a:solidFill>
              </a:rPr>
              <a:t> </a:t>
            </a:r>
            <a:endParaRPr lang="ru-RU" i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4051301" y="100351"/>
            <a:ext cx="7133167" cy="178151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</a:t>
            </a:r>
            <a:r>
              <a:rPr lang="ru-RU" sz="2800" b="1" dirty="0" err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ет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  Программа </a:t>
            </a:r>
            <a:b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оровая область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? 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869269" y="2065867"/>
            <a:ext cx="7315200" cy="391888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FF0000"/>
                </a:solidFill>
              </a:rPr>
              <a:t> МОТИВАЦИЮ </a:t>
            </a:r>
            <a:r>
              <a:rPr lang="ru-RU" dirty="0">
                <a:solidFill>
                  <a:schemeClr val="tx1"/>
                </a:solidFill>
              </a:rPr>
              <a:t>педагогических работников и студентов </a:t>
            </a:r>
            <a:r>
              <a:rPr lang="ru-RU" dirty="0" smtClean="0">
                <a:solidFill>
                  <a:schemeClr val="tx1"/>
                </a:solidFill>
              </a:rPr>
              <a:t/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к </a:t>
            </a:r>
            <a:r>
              <a:rPr lang="ru-RU" dirty="0">
                <a:solidFill>
                  <a:schemeClr val="tx1"/>
                </a:solidFill>
              </a:rPr>
              <a:t>вступлению и участию в деятельности </a:t>
            </a:r>
            <a:r>
              <a:rPr lang="ru-RU" dirty="0" smtClean="0">
                <a:solidFill>
                  <a:schemeClr val="tx1"/>
                </a:solidFill>
              </a:rPr>
              <a:t>Профсоюза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1"/>
                </a:solidFill>
              </a:rPr>
              <a:t>  </a:t>
            </a:r>
            <a:r>
              <a:rPr lang="ru-RU" dirty="0" smtClean="0">
                <a:solidFill>
                  <a:srgbClr val="FF0000"/>
                </a:solidFill>
              </a:rPr>
              <a:t>РЕЗУЛЬТАТИВНОСТЬ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реализуемых социальных </a:t>
            </a:r>
            <a:r>
              <a:rPr lang="ru-RU" dirty="0" smtClean="0">
                <a:solidFill>
                  <a:schemeClr val="tx1"/>
                </a:solidFill>
              </a:rPr>
              <a:t>программ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FF0000"/>
                </a:solidFill>
              </a:rPr>
              <a:t>УДОВЛЕТВОРЕННОСТЬ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членов Профсоюза качеством профработы; </a:t>
            </a:r>
            <a:endParaRPr lang="ru-RU" dirty="0" smtClean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формирование системы профсоюзных </a:t>
            </a:r>
            <a:r>
              <a:rPr lang="ru-RU" dirty="0" smtClean="0">
                <a:solidFill>
                  <a:srgbClr val="FF0000"/>
                </a:solidFill>
              </a:rPr>
              <a:t>ПРОЕКТОВ</a:t>
            </a:r>
            <a:r>
              <a:rPr lang="ru-RU" dirty="0" smtClean="0">
                <a:solidFill>
                  <a:schemeClr val="tx1"/>
                </a:solidFill>
              </a:rPr>
              <a:t> 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rgbClr val="FF0000"/>
                </a:solidFill>
              </a:rPr>
              <a:t>ЭФФЕКТИВНОСТЬ</a:t>
            </a:r>
            <a:r>
              <a:rPr lang="ru-RU" dirty="0">
                <a:solidFill>
                  <a:schemeClr val="tx1"/>
                </a:solidFill>
              </a:rPr>
              <a:t> использования профсоюзных средств, </a:t>
            </a:r>
            <a:r>
              <a:rPr lang="ru-RU" dirty="0">
                <a:solidFill>
                  <a:srgbClr val="FF0000"/>
                </a:solidFill>
              </a:rPr>
              <a:t>ИМИДЖ</a:t>
            </a:r>
            <a:r>
              <a:rPr lang="ru-RU" dirty="0">
                <a:solidFill>
                  <a:schemeClr val="tx1"/>
                </a:solidFill>
              </a:rPr>
              <a:t>  Профсоюза в глазах педагогического сообщества </a:t>
            </a:r>
            <a:r>
              <a:rPr lang="ru-RU" dirty="0" smtClean="0">
                <a:solidFill>
                  <a:schemeClr val="tx1"/>
                </a:solidFill>
              </a:rPr>
              <a:t/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и </a:t>
            </a:r>
            <a:r>
              <a:rPr lang="ru-RU" dirty="0">
                <a:solidFill>
                  <a:schemeClr val="tx1"/>
                </a:solidFill>
              </a:rPr>
              <a:t>широкой общественности</a:t>
            </a:r>
            <a:r>
              <a:rPr lang="ru-RU" dirty="0" smtClean="0">
                <a:solidFill>
                  <a:schemeClr val="tx1"/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rgbClr val="FF0000"/>
                </a:solidFill>
              </a:rPr>
              <a:t>УРОВЕНЬ</a:t>
            </a:r>
            <a:r>
              <a:rPr lang="ru-RU" dirty="0">
                <a:solidFill>
                  <a:schemeClr val="tx1"/>
                </a:solidFill>
              </a:rPr>
              <a:t> эффективности деятельности </a:t>
            </a:r>
            <a:r>
              <a:rPr lang="ru-RU" dirty="0" smtClean="0">
                <a:solidFill>
                  <a:schemeClr val="tx1"/>
                </a:solidFill>
              </a:rPr>
              <a:t>профорганизации,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FF0000"/>
                </a:solidFill>
              </a:rPr>
              <a:t>ГЛАВНОЕ</a:t>
            </a:r>
            <a:r>
              <a:rPr lang="ru-RU" dirty="0" smtClean="0">
                <a:solidFill>
                  <a:schemeClr val="tx1"/>
                </a:solidFill>
              </a:rPr>
              <a:t>  </a:t>
            </a:r>
            <a:r>
              <a:rPr lang="ru-RU" dirty="0">
                <a:solidFill>
                  <a:schemeClr val="tx1"/>
                </a:solidFill>
              </a:rPr>
              <a:t>– достижение одной из </a:t>
            </a:r>
            <a:r>
              <a:rPr lang="ru-RU" dirty="0">
                <a:solidFill>
                  <a:srgbClr val="FF0000"/>
                </a:solidFill>
              </a:rPr>
              <a:t>ЦЕЛЕЙ -  ПОВЫШЕНИЕ  КАЧЕСТВА ЖИЗНИ  </a:t>
            </a:r>
            <a:r>
              <a:rPr lang="ru-RU" dirty="0" smtClean="0">
                <a:solidFill>
                  <a:srgbClr val="FF0000"/>
                </a:solidFill>
              </a:rPr>
              <a:t>ЧЛЕНОВ ПРОФСОЮЗА  </a:t>
            </a:r>
            <a:r>
              <a:rPr lang="ru-RU" dirty="0">
                <a:solidFill>
                  <a:schemeClr val="tx1"/>
                </a:solidFill>
              </a:rPr>
              <a:t>(ст.3 Устава). 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611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solidFill>
                  <a:schemeClr val="tx1"/>
                </a:solidFill>
              </a:rPr>
              <a:t> Экономия семьи по карте члена Профсоюза за  ноябрь(пример):</a:t>
            </a:r>
          </a:p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врат </a:t>
            </a:r>
            <a:r>
              <a:rPr lang="ru-RU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эшбека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и покупке сапог (  первый </a:t>
            </a:r>
            <a:r>
              <a:rPr lang="ru-RU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эшбек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– 1000 руб.</a:t>
            </a:r>
          </a:p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врат </a:t>
            </a:r>
            <a:r>
              <a:rPr lang="ru-RU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эшбека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и оплате картой бензина в  «Лукойл» 12% -387 руб.</a:t>
            </a:r>
          </a:p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врат при покупке продуктов питания  в сетевых магазинах  – 834 руб.</a:t>
            </a:r>
          </a:p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Скидка при оплате по программе « Лечение головной боли </a:t>
            </a:r>
            <a:b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неделю» – 9100 руб.</a:t>
            </a:r>
          </a:p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кидка  на услуги стоматологии ( лечение 1 зуба) – 310 руб.</a:t>
            </a:r>
          </a:p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ение в составе группы  музея Шоколада (4 человека)  - скидка – 1000 руб.</a:t>
            </a:r>
          </a:p>
          <a:p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 ЭКОНОМИЯ ЗА МЕСЯЦ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631 руб.    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3996267" y="200703"/>
            <a:ext cx="7078134" cy="66340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даёт программа члену Профсоюза? </a:t>
            </a:r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01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-2024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solidFill>
                  <a:schemeClr val="tx1"/>
                </a:solidFill>
              </a:rPr>
              <a:t> 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sp>
        <p:nvSpPr>
          <p:cNvPr id="6" name="Скругленный прямоугольник 5"/>
          <p:cNvSpPr/>
          <p:nvPr/>
        </p:nvSpPr>
        <p:spPr>
          <a:xfrm>
            <a:off x="3708400" y="-31749"/>
            <a:ext cx="8322736" cy="14351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де узнать подробнее?</a:t>
            </a:r>
          </a:p>
          <a:p>
            <a:pPr algn="ctr"/>
            <a:endParaRPr 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9152" y="1092200"/>
            <a:ext cx="6716184" cy="5372947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177242" y="685801"/>
            <a:ext cx="68463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https://www.eseur.ru/volgograd/Sanatorno-kurortnoe_lechenie/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95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016000" y="1066800"/>
            <a:ext cx="7772399" cy="3486912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Благодарю!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3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ыжановская</a:t>
            </a:r>
            <a:r>
              <a:rPr lang="ru-RU" sz="32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Александровна, </a:t>
            </a:r>
            <a:br>
              <a:rPr lang="ru-RU" sz="320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8-02-69</a:t>
            </a: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b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 903 375 27 29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1016000" y="5118100"/>
            <a:ext cx="7772399" cy="59690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4688" y="1066800"/>
            <a:ext cx="1597290" cy="160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75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проект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626112"/>
              </p:ext>
            </p:extLst>
          </p:nvPr>
        </p:nvGraphicFramePr>
        <p:xfrm>
          <a:off x="3708400" y="317500"/>
          <a:ext cx="7653338" cy="601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34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653685"/>
              </p:ext>
            </p:extLst>
          </p:nvPr>
        </p:nvGraphicFramePr>
        <p:xfrm>
          <a:off x="3868738" y="393700"/>
          <a:ext cx="8081962" cy="5591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grpSp>
        <p:nvGrpSpPr>
          <p:cNvPr id="5" name="Graph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-1270000" y="0"/>
            <a:ext cx="428586" cy="542925"/>
            <a:chOff x="959" y="1717"/>
            <a:chExt cx="2875" cy="3642"/>
          </a:xfrm>
          <a:solidFill>
            <a:schemeClr val="accent1"/>
          </a:solidFill>
        </p:grpSpPr>
        <p:sp>
          <p:nvSpPr>
            <p:cNvPr id="7" name="Rectangle 467"/>
            <p:cNvSpPr>
              <a:spLocks noChangeArrowheads="1"/>
            </p:cNvSpPr>
            <p:nvPr/>
          </p:nvSpPr>
          <p:spPr bwMode="auto">
            <a:xfrm>
              <a:off x="3496" y="2056"/>
              <a:ext cx="338" cy="33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Rectangle 468"/>
            <p:cNvSpPr>
              <a:spLocks noChangeArrowheads="1"/>
            </p:cNvSpPr>
            <p:nvPr/>
          </p:nvSpPr>
          <p:spPr bwMode="auto">
            <a:xfrm>
              <a:off x="3073" y="2605"/>
              <a:ext cx="339" cy="275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Rectangle 469"/>
            <p:cNvSpPr>
              <a:spLocks noChangeArrowheads="1"/>
            </p:cNvSpPr>
            <p:nvPr/>
          </p:nvSpPr>
          <p:spPr bwMode="auto">
            <a:xfrm>
              <a:off x="2651" y="3157"/>
              <a:ext cx="338" cy="220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Rectangle 470"/>
            <p:cNvSpPr>
              <a:spLocks noChangeArrowheads="1"/>
            </p:cNvSpPr>
            <p:nvPr/>
          </p:nvSpPr>
          <p:spPr bwMode="auto">
            <a:xfrm>
              <a:off x="2228" y="3706"/>
              <a:ext cx="338" cy="165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471"/>
            <p:cNvSpPr>
              <a:spLocks noChangeArrowheads="1"/>
            </p:cNvSpPr>
            <p:nvPr/>
          </p:nvSpPr>
          <p:spPr bwMode="auto">
            <a:xfrm>
              <a:off x="1805" y="4258"/>
              <a:ext cx="338" cy="110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Rectangle 472"/>
            <p:cNvSpPr>
              <a:spLocks noChangeArrowheads="1"/>
            </p:cNvSpPr>
            <p:nvPr/>
          </p:nvSpPr>
          <p:spPr bwMode="auto">
            <a:xfrm>
              <a:off x="1382" y="4807"/>
              <a:ext cx="338" cy="55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Rectangle 473"/>
            <p:cNvSpPr>
              <a:spLocks noChangeArrowheads="1"/>
            </p:cNvSpPr>
            <p:nvPr/>
          </p:nvSpPr>
          <p:spPr bwMode="auto">
            <a:xfrm>
              <a:off x="959" y="5190"/>
              <a:ext cx="339" cy="16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474"/>
            <p:cNvSpPr>
              <a:spLocks/>
            </p:cNvSpPr>
            <p:nvPr/>
          </p:nvSpPr>
          <p:spPr bwMode="auto">
            <a:xfrm>
              <a:off x="1044" y="1717"/>
              <a:ext cx="2050" cy="3175"/>
            </a:xfrm>
            <a:custGeom>
              <a:avLst/>
              <a:gdLst>
                <a:gd name="T0" fmla="*/ 588 w 606"/>
                <a:gd name="T1" fmla="*/ 0 h 937"/>
                <a:gd name="T2" fmla="*/ 500 w 606"/>
                <a:gd name="T3" fmla="*/ 78 h 937"/>
                <a:gd name="T4" fmla="*/ 546 w 606"/>
                <a:gd name="T5" fmla="*/ 67 h 937"/>
                <a:gd name="T6" fmla="*/ 300 w 606"/>
                <a:gd name="T7" fmla="*/ 525 h 937"/>
                <a:gd name="T8" fmla="*/ 0 w 606"/>
                <a:gd name="T9" fmla="*/ 937 h 937"/>
                <a:gd name="T10" fmla="*/ 187 w 606"/>
                <a:gd name="T11" fmla="*/ 712 h 937"/>
                <a:gd name="T12" fmla="*/ 578 w 606"/>
                <a:gd name="T13" fmla="*/ 76 h 937"/>
                <a:gd name="T14" fmla="*/ 606 w 606"/>
                <a:gd name="T15" fmla="*/ 121 h 937"/>
                <a:gd name="T16" fmla="*/ 588 w 606"/>
                <a:gd name="T17" fmla="*/ 0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6" h="937">
                  <a:moveTo>
                    <a:pt x="588" y="0"/>
                  </a:moveTo>
                  <a:lnTo>
                    <a:pt x="500" y="78"/>
                  </a:lnTo>
                  <a:lnTo>
                    <a:pt x="546" y="67"/>
                  </a:lnTo>
                  <a:cubicBezTo>
                    <a:pt x="483" y="213"/>
                    <a:pt x="393" y="384"/>
                    <a:pt x="300" y="525"/>
                  </a:cubicBezTo>
                  <a:cubicBezTo>
                    <a:pt x="225" y="637"/>
                    <a:pt x="15" y="907"/>
                    <a:pt x="0" y="937"/>
                  </a:cubicBezTo>
                  <a:cubicBezTo>
                    <a:pt x="0" y="937"/>
                    <a:pt x="99" y="824"/>
                    <a:pt x="187" y="712"/>
                  </a:cubicBezTo>
                  <a:cubicBezTo>
                    <a:pt x="375" y="475"/>
                    <a:pt x="450" y="337"/>
                    <a:pt x="578" y="76"/>
                  </a:cubicBezTo>
                  <a:lnTo>
                    <a:pt x="606" y="121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60703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graphicFrame>
        <p:nvGraphicFramePr>
          <p:cNvPr id="5" name="Объект 4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1821706"/>
              </p:ext>
            </p:extLst>
          </p:nvPr>
        </p:nvGraphicFramePr>
        <p:xfrm>
          <a:off x="4076701" y="2475944"/>
          <a:ext cx="2784474" cy="3934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Acrobat Document" r:id="rId5" imgW="5676833" imgH="8019837" progId="Acrobat.Document.11">
                  <p:embed/>
                </p:oleObj>
              </mc:Choice>
              <mc:Fallback>
                <p:oleObj name="Acrobat Document" r:id="rId5" imgW="5676833" imgH="8019837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076701" y="2475944"/>
                        <a:ext cx="2784474" cy="39346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9866316"/>
              </p:ext>
            </p:extLst>
          </p:nvPr>
        </p:nvGraphicFramePr>
        <p:xfrm>
          <a:off x="7747000" y="2252221"/>
          <a:ext cx="3101976" cy="4382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Acrobat Document" r:id="rId7" imgW="5676833" imgH="8019837" progId="Acrobat.Document.11">
                  <p:embed/>
                </p:oleObj>
              </mc:Choice>
              <mc:Fallback>
                <p:oleObj name="Acrobat Document" r:id="rId7" imgW="5676833" imgH="8019837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747000" y="2252221"/>
                        <a:ext cx="3101976" cy="43820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Скругленный прямоугольник 6"/>
          <p:cNvSpPr/>
          <p:nvPr/>
        </p:nvSpPr>
        <p:spPr>
          <a:xfrm>
            <a:off x="4076701" y="200703"/>
            <a:ext cx="7077076" cy="174239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ртнёры  Профсоюза образования:</a:t>
            </a:r>
          </a:p>
          <a:p>
            <a:pPr marL="285750" indent="-285750" algn="ctr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й центр «Сфера»</a:t>
            </a:r>
          </a:p>
          <a:p>
            <a:pPr marL="285750" indent="-285750" algn="ctr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оматология «ДЭМ»</a:t>
            </a:r>
          </a:p>
          <a:p>
            <a:pPr marL="285750" indent="-285750" algn="ctr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за отдыха «Дубовая роща»</a:t>
            </a:r>
          </a:p>
          <a:p>
            <a:pPr marL="285750" indent="-285750" algn="ctr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перинатальной психологии Галины Морозовой</a:t>
            </a:r>
            <a:endParaRPr lang="ru-RU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ctr"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ru-RU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004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900" y="1092200"/>
            <a:ext cx="3213100" cy="4632821"/>
          </a:xfrm>
        </p:spPr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8072009" y="3076215"/>
            <a:ext cx="4011206" cy="282785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896" y="880533"/>
            <a:ext cx="897554" cy="90098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2819" y="170349"/>
            <a:ext cx="3769586" cy="2657518"/>
          </a:xfrm>
          <a:prstGeom prst="rect">
            <a:avLst/>
          </a:prstGeom>
        </p:spPr>
      </p:pic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910521"/>
              </p:ext>
            </p:extLst>
          </p:nvPr>
        </p:nvGraphicFramePr>
        <p:xfrm>
          <a:off x="3494928" y="259027"/>
          <a:ext cx="4566827" cy="2568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Acrobat Document" r:id="rId7" imgW="6858000" imgH="3857400" progId="Acrobat.Document.11">
                  <p:embed/>
                </p:oleObj>
              </mc:Choice>
              <mc:Fallback>
                <p:oleObj name="Acrobat Document" r:id="rId7" imgW="6858000" imgH="3857400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494928" y="259027"/>
                        <a:ext cx="4566827" cy="25688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1368403"/>
              </p:ext>
            </p:extLst>
          </p:nvPr>
        </p:nvGraphicFramePr>
        <p:xfrm>
          <a:off x="3542822" y="3183121"/>
          <a:ext cx="4518933" cy="2541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Acrobat Document" r:id="rId9" imgW="6858000" imgH="3857400" progId="Acrobat.Document.11">
                  <p:embed/>
                </p:oleObj>
              </mc:Choice>
              <mc:Fallback>
                <p:oleObj name="Acrobat Document" r:id="rId9" imgW="6858000" imgH="3857400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542822" y="3183121"/>
                        <a:ext cx="4518933" cy="2541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324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Е ПРОГРАММЫ ПРОФСОЮЗА ОБРАЗОВАНИЯ</a:t>
            </a:r>
            <a:br>
              <a:rPr lang="ru-R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-2024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indent="0" algn="just">
              <a:spcAft>
                <a:spcPts val="0"/>
              </a:spcAft>
              <a:buNone/>
            </a:pPr>
            <a:endParaRPr lang="ru-RU" dirty="0" smtClean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indent="0" algn="just">
              <a:spcAft>
                <a:spcPts val="0"/>
              </a:spcAft>
              <a:buNone/>
            </a:pPr>
            <a:endParaRPr lang="ru-RU" b="1" dirty="0" smtClean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indent="0" algn="just">
              <a:spcAft>
                <a:spcPts val="0"/>
              </a:spcAft>
              <a:buNone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Цели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граммы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:</a:t>
            </a:r>
            <a:r>
              <a:rPr lang="ru-RU" dirty="0">
                <a:solidFill>
                  <a:schemeClr val="tx1"/>
                </a:solidFill>
                <a:latin typeface="Helvetica" panose="020B0604020202020204" pitchFamily="34" charset="0"/>
                <a:ea typeface="Times New Roman" panose="02020603050405020304" pitchFamily="18" charset="0"/>
              </a:rPr>
              <a:t> </a:t>
            </a:r>
            <a:endParaRPr lang="ru-RU" dirty="0" smtClean="0">
              <a:solidFill>
                <a:schemeClr val="tx1"/>
              </a:solidFill>
              <a:latin typeface="Helvetica" panose="020B0604020202020204" pitchFamily="34" charset="0"/>
              <a:ea typeface="Times New Roman" panose="02020603050405020304" pitchFamily="18" charset="0"/>
            </a:endParaRPr>
          </a:p>
          <a:p>
            <a:pPr marL="525780" indent="-3429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формировани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здорового образа жизни членов 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фсоюза;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ru-RU" b="1" dirty="0" smtClean="0">
              <a:solidFill>
                <a:schemeClr val="tx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525780" indent="-3429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казани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оциальной поддержки членам 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фсоюза;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</a:p>
          <a:p>
            <a:pPr marL="525780" indent="-3429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овышени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доступности лечения, оздоровления 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и отдыха;</a:t>
            </a:r>
          </a:p>
          <a:p>
            <a:pPr marL="525780" indent="-3429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улучшение качества жизни семей членов 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рофсоюза;</a:t>
            </a:r>
          </a:p>
          <a:p>
            <a:pPr marL="525780" indent="-3429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овышение мотивации профсоюзного членства.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651" y="200703"/>
            <a:ext cx="1574799" cy="158081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869268" y="200703"/>
            <a:ext cx="7531100" cy="18439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грамма по оздоровлению членов Профсоюза 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«Здоровый 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член 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фсоюза 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– здоровый коллектив – здоровая область»</a:t>
            </a:r>
            <a:endParaRPr lang="ru-RU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701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 cstate="print"/>
          <a:srcRect b="36296"/>
          <a:stretch/>
        </p:blipFill>
        <p:spPr>
          <a:xfrm>
            <a:off x="7377262" y="5199874"/>
            <a:ext cx="3107975" cy="1585558"/>
          </a:xfrm>
          <a:prstGeom prst="rect">
            <a:avLst/>
          </a:prstGeom>
        </p:spPr>
      </p:pic>
      <p:sp>
        <p:nvSpPr>
          <p:cNvPr id="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95022" y="260194"/>
            <a:ext cx="3935377" cy="6417822"/>
          </a:xfr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280" y="211458"/>
            <a:ext cx="772416" cy="88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6375400" y="2360842"/>
            <a:ext cx="4551647" cy="11838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42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9pPr>
          </a:lstStyle>
          <a:p>
            <a:pPr indent="0" algn="ctr" fontAlgn="base">
              <a:spcBef>
                <a:spcPts val="1000"/>
              </a:spcBef>
              <a:buClr>
                <a:srgbClr val="FF0000"/>
              </a:buClr>
            </a:pP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ключено 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4 </a:t>
            </a:r>
            <a:r>
              <a:rPr lang="ru-RU" sz="2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глашений</a:t>
            </a: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9845737"/>
              </p:ext>
            </p:extLst>
          </p:nvPr>
        </p:nvGraphicFramePr>
        <p:xfrm>
          <a:off x="3830638" y="124936"/>
          <a:ext cx="3728051" cy="5072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Acrobat Document" r:id="rId6" imgW="5667122" imgH="7991468" progId="Acrobat.Document.11">
                  <p:embed/>
                </p:oleObj>
              </mc:Choice>
              <mc:Fallback>
                <p:oleObj name="Acrobat Document" r:id="rId6" imgW="5667122" imgH="7991468" progId="Acrobat.Document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30638" y="124936"/>
                        <a:ext cx="3728051" cy="5072539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5667" y="821678"/>
            <a:ext cx="2639889" cy="150019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734" y="3818469"/>
            <a:ext cx="3809524" cy="76190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6837" y="3770468"/>
            <a:ext cx="1329680" cy="285881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220" y="4498036"/>
            <a:ext cx="2843808" cy="803844"/>
          </a:xfrm>
          <a:prstGeom prst="rect">
            <a:avLst/>
          </a:prstGeom>
        </p:spPr>
      </p:pic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5337312" y="5395841"/>
          <a:ext cx="2054833" cy="14520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Acrobat Document" r:id="rId12" imgW="10703880" imgH="7551360" progId="AcroExch.Document.DC">
                  <p:embed/>
                </p:oleObj>
              </mc:Choice>
              <mc:Fallback>
                <p:oleObj name="Acrobat Document" r:id="rId12" imgW="10703880" imgH="7551360" progId="AcroExch.Document.DC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7312" y="5395841"/>
                        <a:ext cx="2054833" cy="14520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28" name="AutoShape 16" descr="https://src.kleos.ru/file/org/2016/3/11/logo_945qv.jpg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330" name="AutoShape 18" descr="https://src.kleos.ru/file/org/2016/3/11/logo_945qv.jpg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3332" name="Picture 20" descr="https://src.kleos.ru/file/org/2016/3/11/logo_945qv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482028" y="5572141"/>
            <a:ext cx="2185973" cy="831355"/>
          </a:xfrm>
          <a:prstGeom prst="rect">
            <a:avLst/>
          </a:prstGeom>
          <a:noFill/>
          <a:scene3d>
            <a:camera prst="orthographicFront">
              <a:rot lat="2400000" lon="1200000" rev="0"/>
            </a:camera>
            <a:lightRig rig="threePt" dir="t"/>
          </a:scene3d>
        </p:spPr>
      </p:pic>
      <p:pic>
        <p:nvPicPr>
          <p:cNvPr id="13334" name="Picture 22" descr="https://im0-tub-ru.yandex.net/i?id=00e70ff029b3dedd5b23d9923dadd154-sr&amp;n=13&amp;exp=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482028" y="4524024"/>
            <a:ext cx="1928826" cy="857234"/>
          </a:xfrm>
          <a:prstGeom prst="rect">
            <a:avLst/>
          </a:prstGeom>
          <a:noFill/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80163" y="-33985"/>
            <a:ext cx="1136650" cy="1140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607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689503" y="0"/>
            <a:ext cx="4476597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орий «Шахтер»  (Ессентуки)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ходит в крупнейшую национальную гостиничную сеть Amaks Hotels&amp;Resorts : 8 направлений лечения, шведский стол,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ассейн,курортна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она.</a:t>
            </a:r>
          </a:p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граждан -  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610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уб./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ут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членов профсоюза </a:t>
            </a:r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0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уб./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ут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585200" y="137865"/>
            <a:ext cx="3606800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агностический центр МРТ Деметра </a:t>
            </a:r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казывает услуги по МР - диагностике всего организма на оборудовании экспертного класса.</a:t>
            </a:r>
          </a:p>
          <a:p>
            <a:pPr algn="just"/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ля членов Профсоюза – 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сплатный</a:t>
            </a:r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первый приём невролога, на все исследования – 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%</a:t>
            </a:r>
            <a:r>
              <a:rPr lang="ru-RU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кидка  </a:t>
            </a:r>
          </a:p>
          <a:p>
            <a:pPr algn="just"/>
            <a:endParaRPr lang="ru-RU" sz="16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1037" y="3321011"/>
            <a:ext cx="5101289" cy="3221657"/>
          </a:xfrm>
          <a:prstGeom prst="rect">
            <a:avLst/>
          </a:prstGeom>
        </p:spPr>
      </p:pic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0934041"/>
              </p:ext>
            </p:extLst>
          </p:nvPr>
        </p:nvGraphicFramePr>
        <p:xfrm>
          <a:off x="9732188" y="2882899"/>
          <a:ext cx="2548712" cy="36068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Acrobat Document" r:id="rId5" imgW="7563600" imgH="10685880" progId="AcroExch.Document.DC">
                  <p:embed/>
                </p:oleObj>
              </mc:Choice>
              <mc:Fallback>
                <p:oleObj name="Acrobat Document" r:id="rId5" imgW="7563600" imgH="10685880" progId="AcroExch.Document.DC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32188" y="2882899"/>
                        <a:ext cx="2548712" cy="3606801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689503" y="2876510"/>
            <a:ext cx="3491872" cy="2752819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-127000" y="215862"/>
            <a:ext cx="3706641" cy="6210298"/>
          </a:xfrm>
          <a:prstGeom prst="rect">
            <a:avLst/>
          </a:prstGeom>
          <a:solidFill>
            <a:schemeClr val="accent1"/>
          </a:solidFill>
          <a:ln w="76200">
            <a:noFill/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Здоровый член профсоюза - здоровый коллектив –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доровая область»</a:t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9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1411897" cy="141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416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Рама">
  <a:themeElements>
    <a:clrScheme name="Синий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Рама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Рама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75[[fn=Рамка]]</Template>
  <TotalTime>1270</TotalTime>
  <Words>569</Words>
  <Application>Microsoft Office PowerPoint</Application>
  <PresentationFormat>Широкоэкранный</PresentationFormat>
  <Paragraphs>221</Paragraphs>
  <Slides>27</Slides>
  <Notes>2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39" baseType="lpstr">
      <vt:lpstr>Arial</vt:lpstr>
      <vt:lpstr>Calibri</vt:lpstr>
      <vt:lpstr>Corbel</vt:lpstr>
      <vt:lpstr>Helvetica</vt:lpstr>
      <vt:lpstr>Lucida Sans Unicode</vt:lpstr>
      <vt:lpstr>Times New Roman</vt:lpstr>
      <vt:lpstr>Wingdings</vt:lpstr>
      <vt:lpstr>Wingdings 2</vt:lpstr>
      <vt:lpstr>Wingdings 3</vt:lpstr>
      <vt:lpstr>Рама</vt:lpstr>
      <vt:lpstr>Acrobat Document</vt:lpstr>
      <vt:lpstr>Презентация</vt:lpstr>
      <vt:lpstr>Социальные преференции  для членов Профсоюза в рамках программы «Здоровый член Профсоюза - здоровый коллектив, здоровая область»  </vt:lpstr>
      <vt:lpstr>СОЦИАЛЬНЫЕ ПРОГРАММЫ - Зачем ОНИ мне?</vt:lpstr>
      <vt:lpstr>СОЦИАЛЬНЫЕ ПРОГРАММЫ  и проекты ПРОФСОЮЗА ОБРАЗОВАНИЯ    2019</vt:lpstr>
      <vt:lpstr>СОЦИАЛЬНЫЕ ПРОГРАММЫ ПРОФСОЮЗА ОБРАЗОВАНИЯ    2020</vt:lpstr>
      <vt:lpstr>СОЦИАЛЬНЫЕ ПРОГРАММЫ ПРОФСОЮЗА ОБРАЗОВАНИЯ    2019</vt:lpstr>
      <vt:lpstr>СОЦИАЛЬНЫЕ ПРОГРАММЫ ПРОФСОЮЗА ОБРАЗОВАНИЯ    2019</vt:lpstr>
      <vt:lpstr>СОЦИАЛЬНЫЕ ПРОГРАММЫ ПРОФСОЮЗА ОБРАЗОВАНИЯ    2020-2024</vt:lpstr>
      <vt:lpstr>Программа  «Здоровый член профсоюза - здоровый коллектив –  здоровая область»  2019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ЦИАЛЬНЫЕ ПРОГРАММЫ ПРОФСОЮЗА ОБРАЗОВАНИЯ    2020</vt:lpstr>
      <vt:lpstr>Презентация PowerPoint</vt:lpstr>
      <vt:lpstr>Презентация PowerPoint</vt:lpstr>
      <vt:lpstr>Презентация PowerPoint</vt:lpstr>
      <vt:lpstr>СОЦИАЛЬНЫЕ ПРОГРАММЫ ПРОФСОЮЗА ОБРАЗОВАНИЯ    2020</vt:lpstr>
      <vt:lpstr>СОЦИАЛЬНЫЕ ПРОГРАММЫ ПРОФСОЮЗА ОБРАЗОВАНИЯ    2020</vt:lpstr>
      <vt:lpstr>СОЦИАЛЬНЫЕ ПРОГРАММЫ ПРОФСОЮЗА ОБРАЗОВАНИЯ    2019</vt:lpstr>
      <vt:lpstr>СОЦИАЛЬНЫЕ ПРОГРАММЫ ПРОФСОЮЗА ОБРАЗОВАНИЯ    2020 -2024</vt:lpstr>
      <vt:lpstr>Благодарю!  Крыжановская Наталья Александровна,  38-02-69, 8 903 375 27 29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ВИТИЕ  СОЦИАЛЬНОГО ПАРТНЁРСТВА  2018</dc:title>
  <dc:creator>DNS</dc:creator>
  <cp:lastModifiedBy>DNS</cp:lastModifiedBy>
  <cp:revision>69</cp:revision>
  <dcterms:created xsi:type="dcterms:W3CDTF">2019-02-27T05:01:45Z</dcterms:created>
  <dcterms:modified xsi:type="dcterms:W3CDTF">2020-11-19T09:45:27Z</dcterms:modified>
</cp:coreProperties>
</file>